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36"/>
  </p:notesMasterIdLst>
  <p:handoutMasterIdLst>
    <p:handoutMasterId r:id="rId37"/>
  </p:handoutMasterIdLst>
  <p:sldIdLst>
    <p:sldId id="341" r:id="rId5"/>
    <p:sldId id="262" r:id="rId6"/>
    <p:sldId id="2147470976" r:id="rId7"/>
    <p:sldId id="2147470995" r:id="rId8"/>
    <p:sldId id="2147470972" r:id="rId9"/>
    <p:sldId id="597" r:id="rId10"/>
    <p:sldId id="2147471001" r:id="rId11"/>
    <p:sldId id="2147471045" r:id="rId12"/>
    <p:sldId id="2147468777" r:id="rId13"/>
    <p:sldId id="2145704809" r:id="rId14"/>
    <p:sldId id="2147471059" r:id="rId15"/>
    <p:sldId id="2147471044" r:id="rId16"/>
    <p:sldId id="2147471055" r:id="rId17"/>
    <p:sldId id="2147471053" r:id="rId18"/>
    <p:sldId id="2147471062" r:id="rId19"/>
    <p:sldId id="2147471052" r:id="rId20"/>
    <p:sldId id="2147471047" r:id="rId21"/>
    <p:sldId id="2147471065" r:id="rId22"/>
    <p:sldId id="2147471066" r:id="rId23"/>
    <p:sldId id="2147471049" r:id="rId24"/>
    <p:sldId id="2147471061" r:id="rId25"/>
    <p:sldId id="2147471050" r:id="rId26"/>
    <p:sldId id="2147471060" r:id="rId27"/>
    <p:sldId id="2147470974" r:id="rId28"/>
    <p:sldId id="2147470975" r:id="rId29"/>
    <p:sldId id="606" r:id="rId30"/>
    <p:sldId id="2147471057" r:id="rId31"/>
    <p:sldId id="2147471023" r:id="rId32"/>
    <p:sldId id="2147471027" r:id="rId33"/>
    <p:sldId id="2147471028" r:id="rId34"/>
    <p:sldId id="2147471029" r:id="rId35"/>
  </p:sldIdLst>
  <p:sldSz cx="12192000" cy="6858000"/>
  <p:notesSz cx="7315200" cy="96012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0"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5C7A13-CE9E-6F38-D468-69E933E9C152}" name="Shankar, Shalini" initials="SS" userId="S::shshankar@deloitte.com::78d34759-0b37-45b8-83d1-8d0fdcc9bbde" providerId="AD"/>
  <p188:author id="{52ABB21F-1013-5912-BCB2-9A17E14EE777}" name="Saini, Deepak" initials="SD" userId="S::dsaini@deloitte.com::e80dbb9a-4b07-4a9f-88ef-d15fa0089888" providerId="AD"/>
  <p188:author id="{C0E6D74F-5A8A-EED2-EDCC-E41C7CB3BFCD}" name="Agarwal, Ritvika Agarwal" initials="AA" userId="S::ritagarwal@deloitte.com::b707b316-64a3-4610-910f-1bdb9cece827" providerId="AD"/>
  <p188:author id="{67CAC474-13FD-0466-3598-645B0B423796}" name="Namineni, Vivek" initials="NV" userId="S::vnamineni@deloitte.com::964f4afe-7307-477d-9586-fa0859bf9993" providerId="AD"/>
  <p188:author id="{98A49D90-BE07-8CF4-F7A7-E5BA08445B07}" name="Khan, Salman" initials="KS" userId="S::salmankhan4@deloitte.com::6272095a-5948-43a2-9775-c628ca61972d" providerId="AD"/>
  <p188:author id="{C1C1B595-D9F3-0BE6-9B10-4AA11B8C04B7}" name="Tanna, Nishant Kiritbhai" initials="TNK" userId="S::ntanna@deloitte.com::d1370780-4bcf-4f4c-93e1-7b4f1d6c7dbb" providerId="AD"/>
  <p188:author id="{4BBD64D3-B889-D40C-CAA0-BDE4E79B6FB7}" name="Alvarez, Becky" initials="AB" userId="S::bealvarez@deloitte.com::188f73ca-c6f1-4f7f-be0c-e80beec6d4d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8" clrIdx="0">
    <p:extLst>
      <p:ext uri="{19B8F6BF-5375-455C-9EA6-DF929625EA0E}">
        <p15:presenceInfo xmlns:p15="http://schemas.microsoft.com/office/powerpoint/2012/main" userId="Tamika H" providerId="None"/>
      </p:ext>
    </p:extLst>
  </p:cmAuthor>
  <p:cmAuthor id="2" name="Nangle, Ryan" initials="NR" lastIdx="5" clrIdx="1">
    <p:extLst>
      <p:ext uri="{19B8F6BF-5375-455C-9EA6-DF929625EA0E}">
        <p15:presenceInfo xmlns:p15="http://schemas.microsoft.com/office/powerpoint/2012/main" userId="S::rnangle@deloitte.com::e2554a09-feee-485b-b4c5-b68e776b55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C8A2E"/>
    <a:srgbClr val="FFCD00"/>
    <a:srgbClr val="ED8B00"/>
    <a:srgbClr val="DB291C"/>
    <a:srgbClr val="FF9900"/>
    <a:srgbClr val="C00000"/>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51D12A-DFD6-FEA2-269B-760D24EA8305}" v="59" dt="2024-04-23T14:23:40.8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guide/>
        <p:guide orient="horz" pos="2040"/>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ghavi, Vidhi Varun" userId="S::vsanghavi@deloitte.com::2f2800a3-281e-42fb-9966-d0efb380f923" providerId="AD" clId="Web-{DF51D12A-DFD6-FEA2-269B-760D24EA8305}"/>
    <pc:docChg chg="modSld">
      <pc:chgData name="Sanghavi, Vidhi Varun" userId="S::vsanghavi@deloitte.com::2f2800a3-281e-42fb-9966-d0efb380f923" providerId="AD" clId="Web-{DF51D12A-DFD6-FEA2-269B-760D24EA8305}" dt="2024-04-23T14:23:37.689" v="22"/>
      <pc:docMkLst>
        <pc:docMk/>
      </pc:docMkLst>
      <pc:sldChg chg="modSp">
        <pc:chgData name="Sanghavi, Vidhi Varun" userId="S::vsanghavi@deloitte.com::2f2800a3-281e-42fb-9966-d0efb380f923" providerId="AD" clId="Web-{DF51D12A-DFD6-FEA2-269B-760D24EA8305}" dt="2024-04-23T14:23:27.282" v="18"/>
        <pc:sldMkLst>
          <pc:docMk/>
          <pc:sldMk cId="2992909095" sldId="2147470975"/>
        </pc:sldMkLst>
        <pc:graphicFrameChg chg="mod modGraphic">
          <ac:chgData name="Sanghavi, Vidhi Varun" userId="S::vsanghavi@deloitte.com::2f2800a3-281e-42fb-9966-d0efb380f923" providerId="AD" clId="Web-{DF51D12A-DFD6-FEA2-269B-760D24EA8305}" dt="2024-04-23T14:23:27.282" v="18"/>
          <ac:graphicFrameMkLst>
            <pc:docMk/>
            <pc:sldMk cId="2992909095" sldId="2147470975"/>
            <ac:graphicFrameMk id="17" creationId="{00000000-0000-0000-0000-000000000000}"/>
          </ac:graphicFrameMkLst>
        </pc:graphicFrameChg>
      </pc:sldChg>
      <pc:sldChg chg="modSp">
        <pc:chgData name="Sanghavi, Vidhi Varun" userId="S::vsanghavi@deloitte.com::2f2800a3-281e-42fb-9966-d0efb380f923" providerId="AD" clId="Web-{DF51D12A-DFD6-FEA2-269B-760D24EA8305}" dt="2024-04-23T14:20:55.886" v="0" actId="20577"/>
        <pc:sldMkLst>
          <pc:docMk/>
          <pc:sldMk cId="402935960" sldId="2147470976"/>
        </pc:sldMkLst>
        <pc:spChg chg="mod">
          <ac:chgData name="Sanghavi, Vidhi Varun" userId="S::vsanghavi@deloitte.com::2f2800a3-281e-42fb-9966-d0efb380f923" providerId="AD" clId="Web-{DF51D12A-DFD6-FEA2-269B-760D24EA8305}" dt="2024-04-23T14:20:55.886" v="0" actId="20577"/>
          <ac:spMkLst>
            <pc:docMk/>
            <pc:sldMk cId="402935960" sldId="2147470976"/>
            <ac:spMk id="4" creationId="{1035FD7D-0195-C4B9-80DA-4E4ACE1A50FF}"/>
          </ac:spMkLst>
        </pc:spChg>
      </pc:sldChg>
      <pc:sldChg chg="modSp">
        <pc:chgData name="Sanghavi, Vidhi Varun" userId="S::vsanghavi@deloitte.com::2f2800a3-281e-42fb-9966-d0efb380f923" providerId="AD" clId="Web-{DF51D12A-DFD6-FEA2-269B-760D24EA8305}" dt="2024-04-23T14:23:37.689" v="22"/>
        <pc:sldMkLst>
          <pc:docMk/>
          <pc:sldMk cId="3779177291" sldId="2147471057"/>
        </pc:sldMkLst>
        <pc:graphicFrameChg chg="mod modGraphic">
          <ac:chgData name="Sanghavi, Vidhi Varun" userId="S::vsanghavi@deloitte.com::2f2800a3-281e-42fb-9966-d0efb380f923" providerId="AD" clId="Web-{DF51D12A-DFD6-FEA2-269B-760D24EA8305}" dt="2024-04-23T14:23:37.689" v="22"/>
          <ac:graphicFrameMkLst>
            <pc:docMk/>
            <pc:sldMk cId="3779177291" sldId="2147471057"/>
            <ac:graphicFrameMk id="31" creationId="{86D29932-240A-4696-A6BC-848BC6CFD33E}"/>
          </ac:graphicFrameMkLst>
        </pc:graphicFrameChg>
      </pc:sldChg>
    </pc:docChg>
  </pc:docChgLst>
  <pc:docChgLst>
    <pc:chgData name="Alvarez, Becky" userId="S::bealvarez@deloitte.com::188f73ca-c6f1-4f7f-be0c-e80beec6d4d1" providerId="AD" clId="Web-{1DA830AD-B913-415B-BB2D-C15611E1BAF6}"/>
    <pc:docChg chg="modSld">
      <pc:chgData name="Alvarez, Becky" userId="S::bealvarez@deloitte.com::188f73ca-c6f1-4f7f-be0c-e80beec6d4d1" providerId="AD" clId="Web-{1DA830AD-B913-415B-BB2D-C15611E1BAF6}" dt="2023-02-13T22:11:55.424" v="112"/>
      <pc:docMkLst>
        <pc:docMk/>
      </pc:docMkLst>
      <pc:sldChg chg="modSp">
        <pc:chgData name="Alvarez, Becky" userId="S::bealvarez@deloitte.com::188f73ca-c6f1-4f7f-be0c-e80beec6d4d1" providerId="AD" clId="Web-{1DA830AD-B913-415B-BB2D-C15611E1BAF6}" dt="2023-02-13T21:20:51.338" v="72" actId="20577"/>
        <pc:sldMkLst>
          <pc:docMk/>
          <pc:sldMk cId="3343091185" sldId="2145704809"/>
        </pc:sldMkLst>
        <pc:spChg chg="mod">
          <ac:chgData name="Alvarez, Becky" userId="S::bealvarez@deloitte.com::188f73ca-c6f1-4f7f-be0c-e80beec6d4d1" providerId="AD" clId="Web-{1DA830AD-B913-415B-BB2D-C15611E1BAF6}" dt="2023-02-13T21:20:51.338" v="72" actId="20577"/>
          <ac:spMkLst>
            <pc:docMk/>
            <pc:sldMk cId="3343091185" sldId="2145704809"/>
            <ac:spMk id="24" creationId="{CB48A1D1-2C9F-485B-B6D7-D60EC2B4BBA3}"/>
          </ac:spMkLst>
        </pc:spChg>
        <pc:spChg chg="mod">
          <ac:chgData name="Alvarez, Becky" userId="S::bealvarez@deloitte.com::188f73ca-c6f1-4f7f-be0c-e80beec6d4d1" providerId="AD" clId="Web-{1DA830AD-B913-415B-BB2D-C15611E1BAF6}" dt="2023-02-13T21:16:37.114" v="69" actId="20577"/>
          <ac:spMkLst>
            <pc:docMk/>
            <pc:sldMk cId="3343091185" sldId="2145704809"/>
            <ac:spMk id="101" creationId="{E8FEF5DD-58B4-40FA-A8EC-A8623DAAAE16}"/>
          </ac:spMkLst>
        </pc:spChg>
      </pc:sldChg>
      <pc:sldChg chg="modSp">
        <pc:chgData name="Alvarez, Becky" userId="S::bealvarez@deloitte.com::188f73ca-c6f1-4f7f-be0c-e80beec6d4d1" providerId="AD" clId="Web-{1DA830AD-B913-415B-BB2D-C15611E1BAF6}" dt="2023-02-13T21:04:30.144" v="29"/>
        <pc:sldMkLst>
          <pc:docMk/>
          <pc:sldMk cId="1317580537" sldId="2147471044"/>
        </pc:sldMkLst>
        <pc:graphicFrameChg chg="mod modGraphic">
          <ac:chgData name="Alvarez, Becky" userId="S::bealvarez@deloitte.com::188f73ca-c6f1-4f7f-be0c-e80beec6d4d1" providerId="AD" clId="Web-{1DA830AD-B913-415B-BB2D-C15611E1BAF6}" dt="2023-02-13T21:04:30.144" v="29"/>
          <ac:graphicFrameMkLst>
            <pc:docMk/>
            <pc:sldMk cId="1317580537" sldId="2147471044"/>
            <ac:graphicFrameMk id="31" creationId="{86D29932-240A-4696-A6BC-848BC6CFD33E}"/>
          </ac:graphicFrameMkLst>
        </pc:graphicFrameChg>
      </pc:sldChg>
      <pc:sldChg chg="modSp">
        <pc:chgData name="Alvarez, Becky" userId="S::bealvarez@deloitte.com::188f73ca-c6f1-4f7f-be0c-e80beec6d4d1" providerId="AD" clId="Web-{1DA830AD-B913-415B-BB2D-C15611E1BAF6}" dt="2023-02-13T21:35:13.842" v="94"/>
        <pc:sldMkLst>
          <pc:docMk/>
          <pc:sldMk cId="1157826573" sldId="2147471055"/>
        </pc:sldMkLst>
        <pc:graphicFrameChg chg="mod modGraphic">
          <ac:chgData name="Alvarez, Becky" userId="S::bealvarez@deloitte.com::188f73ca-c6f1-4f7f-be0c-e80beec6d4d1" providerId="AD" clId="Web-{1DA830AD-B913-415B-BB2D-C15611E1BAF6}" dt="2023-02-13T21:35:13.842" v="94"/>
          <ac:graphicFrameMkLst>
            <pc:docMk/>
            <pc:sldMk cId="1157826573" sldId="2147471055"/>
            <ac:graphicFrameMk id="31" creationId="{86D29932-240A-4696-A6BC-848BC6CFD33E}"/>
          </ac:graphicFrameMkLst>
        </pc:graphicFrameChg>
      </pc:sldChg>
      <pc:sldChg chg="addSp delSp modSp addCm">
        <pc:chgData name="Alvarez, Becky" userId="S::bealvarez@deloitte.com::188f73ca-c6f1-4f7f-be0c-e80beec6d4d1" providerId="AD" clId="Web-{1DA830AD-B913-415B-BB2D-C15611E1BAF6}" dt="2023-02-13T22:11:55.424" v="112"/>
        <pc:sldMkLst>
          <pc:docMk/>
          <pc:sldMk cId="454488944" sldId="2147471063"/>
        </pc:sldMkLst>
        <pc:spChg chg="del">
          <ac:chgData name="Alvarez, Becky" userId="S::bealvarez@deloitte.com::188f73ca-c6f1-4f7f-be0c-e80beec6d4d1" providerId="AD" clId="Web-{1DA830AD-B913-415B-BB2D-C15611E1BAF6}" dt="2023-02-13T22:10:13.390" v="105"/>
          <ac:spMkLst>
            <pc:docMk/>
            <pc:sldMk cId="454488944" sldId="2147471063"/>
            <ac:spMk id="2" creationId="{BFA7277D-92C5-B7F3-FBFC-C846AADDDF14}"/>
          </ac:spMkLst>
        </pc:spChg>
        <pc:spChg chg="del">
          <ac:chgData name="Alvarez, Becky" userId="S::bealvarez@deloitte.com::188f73ca-c6f1-4f7f-be0c-e80beec6d4d1" providerId="AD" clId="Web-{1DA830AD-B913-415B-BB2D-C15611E1BAF6}" dt="2023-02-13T22:10:14.969" v="106"/>
          <ac:spMkLst>
            <pc:docMk/>
            <pc:sldMk cId="454488944" sldId="2147471063"/>
            <ac:spMk id="3" creationId="{46917102-3D92-00AC-100D-03DB98CA8C9D}"/>
          </ac:spMkLst>
        </pc:spChg>
        <pc:spChg chg="del">
          <ac:chgData name="Alvarez, Becky" userId="S::bealvarez@deloitte.com::188f73ca-c6f1-4f7f-be0c-e80beec6d4d1" providerId="AD" clId="Web-{1DA830AD-B913-415B-BB2D-C15611E1BAF6}" dt="2023-02-13T22:10:06.906" v="101"/>
          <ac:spMkLst>
            <pc:docMk/>
            <pc:sldMk cId="454488944" sldId="2147471063"/>
            <ac:spMk id="4" creationId="{AAEA0169-4F2E-6F0C-257E-B845D4384DED}"/>
          </ac:spMkLst>
        </pc:spChg>
        <pc:spChg chg="del mod">
          <ac:chgData name="Alvarez, Becky" userId="S::bealvarez@deloitte.com::188f73ca-c6f1-4f7f-be0c-e80beec6d4d1" providerId="AD" clId="Web-{1DA830AD-B913-415B-BB2D-C15611E1BAF6}" dt="2023-02-13T22:10:09.422" v="103"/>
          <ac:spMkLst>
            <pc:docMk/>
            <pc:sldMk cId="454488944" sldId="2147471063"/>
            <ac:spMk id="8" creationId="{4E6FBF7B-D8F4-67EC-CCCD-0ED59112EE81}"/>
          </ac:spMkLst>
        </pc:spChg>
        <pc:spChg chg="mod">
          <ac:chgData name="Alvarez, Becky" userId="S::bealvarez@deloitte.com::188f73ca-c6f1-4f7f-be0c-e80beec6d4d1" providerId="AD" clId="Web-{1DA830AD-B913-415B-BB2D-C15611E1BAF6}" dt="2023-02-13T21:53:32.196" v="100" actId="1076"/>
          <ac:spMkLst>
            <pc:docMk/>
            <pc:sldMk cId="454488944" sldId="2147471063"/>
            <ac:spMk id="9" creationId="{1B592488-CE33-19F8-8DF1-583D7E7C44C4}"/>
          </ac:spMkLst>
        </pc:spChg>
        <pc:spChg chg="del">
          <ac:chgData name="Alvarez, Becky" userId="S::bealvarez@deloitte.com::188f73ca-c6f1-4f7f-be0c-e80beec6d4d1" providerId="AD" clId="Web-{1DA830AD-B913-415B-BB2D-C15611E1BAF6}" dt="2023-02-13T22:10:10.625" v="104"/>
          <ac:spMkLst>
            <pc:docMk/>
            <pc:sldMk cId="454488944" sldId="2147471063"/>
            <ac:spMk id="12" creationId="{9C5F3044-E9DB-5FEE-C685-8B513C9E9075}"/>
          </ac:spMkLst>
        </pc:spChg>
        <pc:picChg chg="add mod">
          <ac:chgData name="Alvarez, Becky" userId="S::bealvarez@deloitte.com::188f73ca-c6f1-4f7f-be0c-e80beec6d4d1" providerId="AD" clId="Web-{1DA830AD-B913-415B-BB2D-C15611E1BAF6}" dt="2023-02-13T22:10:44.282" v="111" actId="14100"/>
          <ac:picMkLst>
            <pc:docMk/>
            <pc:sldMk cId="454488944" sldId="2147471063"/>
            <ac:picMk id="5" creationId="{141463C8-5DB3-855E-1E43-7F8487BABEF8}"/>
          </ac:picMkLst>
        </pc:picChg>
        <pc:picChg chg="del">
          <ac:chgData name="Alvarez, Becky" userId="S::bealvarez@deloitte.com::188f73ca-c6f1-4f7f-be0c-e80beec6d4d1" providerId="AD" clId="Web-{1DA830AD-B913-415B-BB2D-C15611E1BAF6}" dt="2023-02-13T22:10:17.078" v="107"/>
          <ac:picMkLst>
            <pc:docMk/>
            <pc:sldMk cId="454488944" sldId="2147471063"/>
            <ac:picMk id="10" creationId="{7ED8C780-E8DC-A6D2-8534-B02A6BA20435}"/>
          </ac:picMkLst>
        </pc:picChg>
      </pc:sldChg>
    </pc:docChg>
  </pc:docChgLst>
  <pc:docChgLst>
    <pc:chgData name="Tanna, Nishant Kiritbhai" userId="d1370780-4bcf-4f4c-93e1-7b4f1d6c7dbb" providerId="ADAL" clId="{F2414A70-A442-4434-9D95-D6398AB4636C}"/>
    <pc:docChg chg="undo custSel addSld delSld modSld sldOrd">
      <pc:chgData name="Tanna, Nishant Kiritbhai" userId="d1370780-4bcf-4f4c-93e1-7b4f1d6c7dbb" providerId="ADAL" clId="{F2414A70-A442-4434-9D95-D6398AB4636C}" dt="2023-02-14T14:12:19.902" v="456"/>
      <pc:docMkLst>
        <pc:docMk/>
      </pc:docMkLst>
      <pc:sldChg chg="delCm modCm">
        <pc:chgData name="Tanna, Nishant Kiritbhai" userId="d1370780-4bcf-4f4c-93e1-7b4f1d6c7dbb" providerId="ADAL" clId="{F2414A70-A442-4434-9D95-D6398AB4636C}" dt="2023-02-14T07:33:31.592" v="429"/>
        <pc:sldMkLst>
          <pc:docMk/>
          <pc:sldMk cId="861957290" sldId="341"/>
        </pc:sldMkLst>
      </pc:sldChg>
      <pc:sldChg chg="del">
        <pc:chgData name="Tanna, Nishant Kiritbhai" userId="d1370780-4bcf-4f4c-93e1-7b4f1d6c7dbb" providerId="ADAL" clId="{F2414A70-A442-4434-9D95-D6398AB4636C}" dt="2023-02-13T13:27:07.682" v="52" actId="47"/>
        <pc:sldMkLst>
          <pc:docMk/>
          <pc:sldMk cId="2877562430" sldId="560"/>
        </pc:sldMkLst>
      </pc:sldChg>
      <pc:sldChg chg="del">
        <pc:chgData name="Tanna, Nishant Kiritbhai" userId="d1370780-4bcf-4f4c-93e1-7b4f1d6c7dbb" providerId="ADAL" clId="{F2414A70-A442-4434-9D95-D6398AB4636C}" dt="2023-02-13T13:27:07.682" v="52" actId="47"/>
        <pc:sldMkLst>
          <pc:docMk/>
          <pc:sldMk cId="1517809317" sldId="567"/>
        </pc:sldMkLst>
      </pc:sldChg>
      <pc:sldChg chg="del">
        <pc:chgData name="Tanna, Nishant Kiritbhai" userId="d1370780-4bcf-4f4c-93e1-7b4f1d6c7dbb" providerId="ADAL" clId="{F2414A70-A442-4434-9D95-D6398AB4636C}" dt="2023-02-13T13:27:07.682" v="52" actId="47"/>
        <pc:sldMkLst>
          <pc:docMk/>
          <pc:sldMk cId="2023976936" sldId="590"/>
        </pc:sldMkLst>
      </pc:sldChg>
      <pc:sldChg chg="del">
        <pc:chgData name="Tanna, Nishant Kiritbhai" userId="d1370780-4bcf-4f4c-93e1-7b4f1d6c7dbb" providerId="ADAL" clId="{F2414A70-A442-4434-9D95-D6398AB4636C}" dt="2023-02-13T13:27:07.682" v="52" actId="47"/>
        <pc:sldMkLst>
          <pc:docMk/>
          <pc:sldMk cId="3566967315" sldId="603"/>
        </pc:sldMkLst>
      </pc:sldChg>
      <pc:sldChg chg="del">
        <pc:chgData name="Tanna, Nishant Kiritbhai" userId="d1370780-4bcf-4f4c-93e1-7b4f1d6c7dbb" providerId="ADAL" clId="{F2414A70-A442-4434-9D95-D6398AB4636C}" dt="2023-02-13T13:27:07.682" v="52" actId="47"/>
        <pc:sldMkLst>
          <pc:docMk/>
          <pc:sldMk cId="2409075901" sldId="616"/>
        </pc:sldMkLst>
      </pc:sldChg>
      <pc:sldChg chg="del">
        <pc:chgData name="Tanna, Nishant Kiritbhai" userId="d1370780-4bcf-4f4c-93e1-7b4f1d6c7dbb" providerId="ADAL" clId="{F2414A70-A442-4434-9D95-D6398AB4636C}" dt="2023-02-13T13:27:07.682" v="52" actId="47"/>
        <pc:sldMkLst>
          <pc:docMk/>
          <pc:sldMk cId="623770938" sldId="636"/>
        </pc:sldMkLst>
      </pc:sldChg>
      <pc:sldChg chg="delCm">
        <pc:chgData name="Tanna, Nishant Kiritbhai" userId="d1370780-4bcf-4f4c-93e1-7b4f1d6c7dbb" providerId="ADAL" clId="{F2414A70-A442-4434-9D95-D6398AB4636C}" dt="2023-02-14T07:34:18.655" v="430"/>
        <pc:sldMkLst>
          <pc:docMk/>
          <pc:sldMk cId="3402747004" sldId="2147468777"/>
        </pc:sldMkLst>
      </pc:sldChg>
      <pc:sldChg chg="delCm">
        <pc:chgData name="Tanna, Nishant Kiritbhai" userId="d1370780-4bcf-4f4c-93e1-7b4f1d6c7dbb" providerId="ADAL" clId="{F2414A70-A442-4434-9D95-D6398AB4636C}" dt="2023-02-14T07:52:24.959" v="434"/>
        <pc:sldMkLst>
          <pc:docMk/>
          <pc:sldMk cId="4220693754" sldId="2147470974"/>
        </pc:sldMkLst>
      </pc:sldChg>
      <pc:sldChg chg="delCm modCm">
        <pc:chgData name="Tanna, Nishant Kiritbhai" userId="d1370780-4bcf-4f4c-93e1-7b4f1d6c7dbb" providerId="ADAL" clId="{F2414A70-A442-4434-9D95-D6398AB4636C}" dt="2023-02-14T07:52:33.093" v="435"/>
        <pc:sldMkLst>
          <pc:docMk/>
          <pc:sldMk cId="2992909095" sldId="2147470975"/>
        </pc:sldMkLst>
      </pc:sldChg>
      <pc:sldChg chg="del">
        <pc:chgData name="Tanna, Nishant Kiritbhai" userId="d1370780-4bcf-4f4c-93e1-7b4f1d6c7dbb" providerId="ADAL" clId="{F2414A70-A442-4434-9D95-D6398AB4636C}" dt="2023-02-13T13:27:07.682" v="52" actId="47"/>
        <pc:sldMkLst>
          <pc:docMk/>
          <pc:sldMk cId="760628570" sldId="2147470999"/>
        </pc:sldMkLst>
      </pc:sldChg>
      <pc:sldChg chg="modCm">
        <pc:chgData name="Tanna, Nishant Kiritbhai" userId="d1370780-4bcf-4f4c-93e1-7b4f1d6c7dbb" providerId="ADAL" clId="{F2414A70-A442-4434-9D95-D6398AB4636C}" dt="2023-02-13T15:52:37.126" v="53"/>
        <pc:sldMkLst>
          <pc:docMk/>
          <pc:sldMk cId="352092785" sldId="2147471001"/>
        </pc:sldMkLst>
      </pc:sldChg>
      <pc:sldChg chg="del">
        <pc:chgData name="Tanna, Nishant Kiritbhai" userId="d1370780-4bcf-4f4c-93e1-7b4f1d6c7dbb" providerId="ADAL" clId="{F2414A70-A442-4434-9D95-D6398AB4636C}" dt="2023-02-13T13:27:07.682" v="52" actId="47"/>
        <pc:sldMkLst>
          <pc:docMk/>
          <pc:sldMk cId="3258847637" sldId="2147471003"/>
        </pc:sldMkLst>
      </pc:sldChg>
      <pc:sldChg chg="del">
        <pc:chgData name="Tanna, Nishant Kiritbhai" userId="d1370780-4bcf-4f4c-93e1-7b4f1d6c7dbb" providerId="ADAL" clId="{F2414A70-A442-4434-9D95-D6398AB4636C}" dt="2023-02-13T13:27:07.682" v="52" actId="47"/>
        <pc:sldMkLst>
          <pc:docMk/>
          <pc:sldMk cId="1673111820" sldId="2147471005"/>
        </pc:sldMkLst>
      </pc:sldChg>
      <pc:sldChg chg="del">
        <pc:chgData name="Tanna, Nishant Kiritbhai" userId="d1370780-4bcf-4f4c-93e1-7b4f1d6c7dbb" providerId="ADAL" clId="{F2414A70-A442-4434-9D95-D6398AB4636C}" dt="2023-02-13T13:27:07.682" v="52" actId="47"/>
        <pc:sldMkLst>
          <pc:docMk/>
          <pc:sldMk cId="3347384676" sldId="2147471006"/>
        </pc:sldMkLst>
      </pc:sldChg>
      <pc:sldChg chg="del">
        <pc:chgData name="Tanna, Nishant Kiritbhai" userId="d1370780-4bcf-4f4c-93e1-7b4f1d6c7dbb" providerId="ADAL" clId="{F2414A70-A442-4434-9D95-D6398AB4636C}" dt="2023-02-13T13:27:07.682" v="52" actId="47"/>
        <pc:sldMkLst>
          <pc:docMk/>
          <pc:sldMk cId="1968154652" sldId="2147471007"/>
        </pc:sldMkLst>
      </pc:sldChg>
      <pc:sldChg chg="del">
        <pc:chgData name="Tanna, Nishant Kiritbhai" userId="d1370780-4bcf-4f4c-93e1-7b4f1d6c7dbb" providerId="ADAL" clId="{F2414A70-A442-4434-9D95-D6398AB4636C}" dt="2023-02-13T13:27:07.682" v="52" actId="47"/>
        <pc:sldMkLst>
          <pc:docMk/>
          <pc:sldMk cId="4257614413" sldId="2147471008"/>
        </pc:sldMkLst>
      </pc:sldChg>
      <pc:sldChg chg="del">
        <pc:chgData name="Tanna, Nishant Kiritbhai" userId="d1370780-4bcf-4f4c-93e1-7b4f1d6c7dbb" providerId="ADAL" clId="{F2414A70-A442-4434-9D95-D6398AB4636C}" dt="2023-02-13T13:27:07.682" v="52" actId="47"/>
        <pc:sldMkLst>
          <pc:docMk/>
          <pc:sldMk cId="3261305573" sldId="2147471009"/>
        </pc:sldMkLst>
      </pc:sldChg>
      <pc:sldChg chg="del">
        <pc:chgData name="Tanna, Nishant Kiritbhai" userId="d1370780-4bcf-4f4c-93e1-7b4f1d6c7dbb" providerId="ADAL" clId="{F2414A70-A442-4434-9D95-D6398AB4636C}" dt="2023-02-13T13:27:07.682" v="52" actId="47"/>
        <pc:sldMkLst>
          <pc:docMk/>
          <pc:sldMk cId="1945243656" sldId="2147471010"/>
        </pc:sldMkLst>
      </pc:sldChg>
      <pc:sldChg chg="del">
        <pc:chgData name="Tanna, Nishant Kiritbhai" userId="d1370780-4bcf-4f4c-93e1-7b4f1d6c7dbb" providerId="ADAL" clId="{F2414A70-A442-4434-9D95-D6398AB4636C}" dt="2023-02-13T13:27:07.682" v="52" actId="47"/>
        <pc:sldMkLst>
          <pc:docMk/>
          <pc:sldMk cId="3955170833" sldId="2147471011"/>
        </pc:sldMkLst>
      </pc:sldChg>
      <pc:sldChg chg="del">
        <pc:chgData name="Tanna, Nishant Kiritbhai" userId="d1370780-4bcf-4f4c-93e1-7b4f1d6c7dbb" providerId="ADAL" clId="{F2414A70-A442-4434-9D95-D6398AB4636C}" dt="2023-02-13T13:27:07.682" v="52" actId="47"/>
        <pc:sldMkLst>
          <pc:docMk/>
          <pc:sldMk cId="1689908842" sldId="2147471012"/>
        </pc:sldMkLst>
      </pc:sldChg>
      <pc:sldChg chg="del">
        <pc:chgData name="Tanna, Nishant Kiritbhai" userId="d1370780-4bcf-4f4c-93e1-7b4f1d6c7dbb" providerId="ADAL" clId="{F2414A70-A442-4434-9D95-D6398AB4636C}" dt="2023-02-13T13:27:07.682" v="52" actId="47"/>
        <pc:sldMkLst>
          <pc:docMk/>
          <pc:sldMk cId="2900378285" sldId="2147471013"/>
        </pc:sldMkLst>
      </pc:sldChg>
      <pc:sldChg chg="del">
        <pc:chgData name="Tanna, Nishant Kiritbhai" userId="d1370780-4bcf-4f4c-93e1-7b4f1d6c7dbb" providerId="ADAL" clId="{F2414A70-A442-4434-9D95-D6398AB4636C}" dt="2023-02-13T13:27:07.682" v="52" actId="47"/>
        <pc:sldMkLst>
          <pc:docMk/>
          <pc:sldMk cId="2686981284" sldId="2147471014"/>
        </pc:sldMkLst>
      </pc:sldChg>
      <pc:sldChg chg="del">
        <pc:chgData name="Tanna, Nishant Kiritbhai" userId="d1370780-4bcf-4f4c-93e1-7b4f1d6c7dbb" providerId="ADAL" clId="{F2414A70-A442-4434-9D95-D6398AB4636C}" dt="2023-02-13T13:27:07.682" v="52" actId="47"/>
        <pc:sldMkLst>
          <pc:docMk/>
          <pc:sldMk cId="3519919364" sldId="2147471015"/>
        </pc:sldMkLst>
      </pc:sldChg>
      <pc:sldChg chg="del">
        <pc:chgData name="Tanna, Nishant Kiritbhai" userId="d1370780-4bcf-4f4c-93e1-7b4f1d6c7dbb" providerId="ADAL" clId="{F2414A70-A442-4434-9D95-D6398AB4636C}" dt="2023-02-13T13:27:07.682" v="52" actId="47"/>
        <pc:sldMkLst>
          <pc:docMk/>
          <pc:sldMk cId="2545258010" sldId="2147471016"/>
        </pc:sldMkLst>
      </pc:sldChg>
      <pc:sldChg chg="del">
        <pc:chgData name="Tanna, Nishant Kiritbhai" userId="d1370780-4bcf-4f4c-93e1-7b4f1d6c7dbb" providerId="ADAL" clId="{F2414A70-A442-4434-9D95-D6398AB4636C}" dt="2023-02-13T13:27:07.682" v="52" actId="47"/>
        <pc:sldMkLst>
          <pc:docMk/>
          <pc:sldMk cId="2941201960" sldId="2147471017"/>
        </pc:sldMkLst>
      </pc:sldChg>
      <pc:sldChg chg="del">
        <pc:chgData name="Tanna, Nishant Kiritbhai" userId="d1370780-4bcf-4f4c-93e1-7b4f1d6c7dbb" providerId="ADAL" clId="{F2414A70-A442-4434-9D95-D6398AB4636C}" dt="2023-02-13T13:27:07.682" v="52" actId="47"/>
        <pc:sldMkLst>
          <pc:docMk/>
          <pc:sldMk cId="538282912" sldId="2147471018"/>
        </pc:sldMkLst>
      </pc:sldChg>
      <pc:sldChg chg="del">
        <pc:chgData name="Tanna, Nishant Kiritbhai" userId="d1370780-4bcf-4f4c-93e1-7b4f1d6c7dbb" providerId="ADAL" clId="{F2414A70-A442-4434-9D95-D6398AB4636C}" dt="2023-02-13T13:27:07.682" v="52" actId="47"/>
        <pc:sldMkLst>
          <pc:docMk/>
          <pc:sldMk cId="718909262" sldId="2147471020"/>
        </pc:sldMkLst>
      </pc:sldChg>
      <pc:sldChg chg="del">
        <pc:chgData name="Tanna, Nishant Kiritbhai" userId="d1370780-4bcf-4f4c-93e1-7b4f1d6c7dbb" providerId="ADAL" clId="{F2414A70-A442-4434-9D95-D6398AB4636C}" dt="2023-02-13T13:27:07.682" v="52" actId="47"/>
        <pc:sldMkLst>
          <pc:docMk/>
          <pc:sldMk cId="2812412040" sldId="2147471022"/>
        </pc:sldMkLst>
      </pc:sldChg>
      <pc:sldChg chg="del">
        <pc:chgData name="Tanna, Nishant Kiritbhai" userId="d1370780-4bcf-4f4c-93e1-7b4f1d6c7dbb" providerId="ADAL" clId="{F2414A70-A442-4434-9D95-D6398AB4636C}" dt="2023-02-13T13:27:07.682" v="52" actId="47"/>
        <pc:sldMkLst>
          <pc:docMk/>
          <pc:sldMk cId="3298726957" sldId="2147471030"/>
        </pc:sldMkLst>
      </pc:sldChg>
      <pc:sldChg chg="del">
        <pc:chgData name="Tanna, Nishant Kiritbhai" userId="d1370780-4bcf-4f4c-93e1-7b4f1d6c7dbb" providerId="ADAL" clId="{F2414A70-A442-4434-9D95-D6398AB4636C}" dt="2023-02-13T13:27:07.682" v="52" actId="47"/>
        <pc:sldMkLst>
          <pc:docMk/>
          <pc:sldMk cId="1552608765" sldId="2147471031"/>
        </pc:sldMkLst>
      </pc:sldChg>
      <pc:sldChg chg="add del">
        <pc:chgData name="Tanna, Nishant Kiritbhai" userId="d1370780-4bcf-4f4c-93e1-7b4f1d6c7dbb" providerId="ADAL" clId="{F2414A70-A442-4434-9D95-D6398AB4636C}" dt="2023-02-13T16:02:29.012" v="55"/>
        <pc:sldMkLst>
          <pc:docMk/>
          <pc:sldMk cId="312913088" sldId="2147471032"/>
        </pc:sldMkLst>
      </pc:sldChg>
      <pc:sldChg chg="del">
        <pc:chgData name="Tanna, Nishant Kiritbhai" userId="d1370780-4bcf-4f4c-93e1-7b4f1d6c7dbb" providerId="ADAL" clId="{F2414A70-A442-4434-9D95-D6398AB4636C}" dt="2023-02-13T13:27:07.682" v="52" actId="47"/>
        <pc:sldMkLst>
          <pc:docMk/>
          <pc:sldMk cId="3189935971" sldId="2147471033"/>
        </pc:sldMkLst>
      </pc:sldChg>
      <pc:sldChg chg="del">
        <pc:chgData name="Tanna, Nishant Kiritbhai" userId="d1370780-4bcf-4f4c-93e1-7b4f1d6c7dbb" providerId="ADAL" clId="{F2414A70-A442-4434-9D95-D6398AB4636C}" dt="2023-02-13T13:27:07.682" v="52" actId="47"/>
        <pc:sldMkLst>
          <pc:docMk/>
          <pc:sldMk cId="4196000476" sldId="2147471034"/>
        </pc:sldMkLst>
      </pc:sldChg>
      <pc:sldChg chg="del">
        <pc:chgData name="Tanna, Nishant Kiritbhai" userId="d1370780-4bcf-4f4c-93e1-7b4f1d6c7dbb" providerId="ADAL" clId="{F2414A70-A442-4434-9D95-D6398AB4636C}" dt="2023-02-13T13:27:07.682" v="52" actId="47"/>
        <pc:sldMkLst>
          <pc:docMk/>
          <pc:sldMk cId="3068103003" sldId="2147471035"/>
        </pc:sldMkLst>
      </pc:sldChg>
      <pc:sldChg chg="del">
        <pc:chgData name="Tanna, Nishant Kiritbhai" userId="d1370780-4bcf-4f4c-93e1-7b4f1d6c7dbb" providerId="ADAL" clId="{F2414A70-A442-4434-9D95-D6398AB4636C}" dt="2023-02-13T13:27:07.682" v="52" actId="47"/>
        <pc:sldMkLst>
          <pc:docMk/>
          <pc:sldMk cId="4184269386" sldId="2147471036"/>
        </pc:sldMkLst>
      </pc:sldChg>
      <pc:sldChg chg="del">
        <pc:chgData name="Tanna, Nishant Kiritbhai" userId="d1370780-4bcf-4f4c-93e1-7b4f1d6c7dbb" providerId="ADAL" clId="{F2414A70-A442-4434-9D95-D6398AB4636C}" dt="2023-02-13T13:27:07.682" v="52" actId="47"/>
        <pc:sldMkLst>
          <pc:docMk/>
          <pc:sldMk cId="628843239" sldId="2147471037"/>
        </pc:sldMkLst>
      </pc:sldChg>
      <pc:sldChg chg="del">
        <pc:chgData name="Tanna, Nishant Kiritbhai" userId="d1370780-4bcf-4f4c-93e1-7b4f1d6c7dbb" providerId="ADAL" clId="{F2414A70-A442-4434-9D95-D6398AB4636C}" dt="2023-02-13T13:27:07.682" v="52" actId="47"/>
        <pc:sldMkLst>
          <pc:docMk/>
          <pc:sldMk cId="231114816" sldId="2147471038"/>
        </pc:sldMkLst>
      </pc:sldChg>
      <pc:sldChg chg="del">
        <pc:chgData name="Tanna, Nishant Kiritbhai" userId="d1370780-4bcf-4f4c-93e1-7b4f1d6c7dbb" providerId="ADAL" clId="{F2414A70-A442-4434-9D95-D6398AB4636C}" dt="2023-02-13T13:27:07.682" v="52" actId="47"/>
        <pc:sldMkLst>
          <pc:docMk/>
          <pc:sldMk cId="1254629541" sldId="2147471039"/>
        </pc:sldMkLst>
      </pc:sldChg>
      <pc:sldChg chg="del">
        <pc:chgData name="Tanna, Nishant Kiritbhai" userId="d1370780-4bcf-4f4c-93e1-7b4f1d6c7dbb" providerId="ADAL" clId="{F2414A70-A442-4434-9D95-D6398AB4636C}" dt="2023-02-13T13:27:07.682" v="52" actId="47"/>
        <pc:sldMkLst>
          <pc:docMk/>
          <pc:sldMk cId="3421024374" sldId="2147471040"/>
        </pc:sldMkLst>
      </pc:sldChg>
      <pc:sldChg chg="del">
        <pc:chgData name="Tanna, Nishant Kiritbhai" userId="d1370780-4bcf-4f4c-93e1-7b4f1d6c7dbb" providerId="ADAL" clId="{F2414A70-A442-4434-9D95-D6398AB4636C}" dt="2023-02-13T13:27:07.682" v="52" actId="47"/>
        <pc:sldMkLst>
          <pc:docMk/>
          <pc:sldMk cId="2966158433" sldId="2147471041"/>
        </pc:sldMkLst>
      </pc:sldChg>
      <pc:sldChg chg="del">
        <pc:chgData name="Tanna, Nishant Kiritbhai" userId="d1370780-4bcf-4f4c-93e1-7b4f1d6c7dbb" providerId="ADAL" clId="{F2414A70-A442-4434-9D95-D6398AB4636C}" dt="2023-02-13T13:27:07.682" v="52" actId="47"/>
        <pc:sldMkLst>
          <pc:docMk/>
          <pc:sldMk cId="2422783052" sldId="2147471042"/>
        </pc:sldMkLst>
      </pc:sldChg>
      <pc:sldChg chg="del">
        <pc:chgData name="Tanna, Nishant Kiritbhai" userId="d1370780-4bcf-4f4c-93e1-7b4f1d6c7dbb" providerId="ADAL" clId="{F2414A70-A442-4434-9D95-D6398AB4636C}" dt="2023-02-13T13:27:07.682" v="52" actId="47"/>
        <pc:sldMkLst>
          <pc:docMk/>
          <pc:sldMk cId="2019529114" sldId="2147471043"/>
        </pc:sldMkLst>
      </pc:sldChg>
      <pc:sldChg chg="del">
        <pc:chgData name="Tanna, Nishant Kiritbhai" userId="d1370780-4bcf-4f4c-93e1-7b4f1d6c7dbb" providerId="ADAL" clId="{F2414A70-A442-4434-9D95-D6398AB4636C}" dt="2023-02-13T13:27:07.682" v="52" actId="47"/>
        <pc:sldMkLst>
          <pc:docMk/>
          <pc:sldMk cId="3762240121" sldId="2147471046"/>
        </pc:sldMkLst>
      </pc:sldChg>
      <pc:sldChg chg="delSp modSp mod delCm modCm">
        <pc:chgData name="Tanna, Nishant Kiritbhai" userId="d1370780-4bcf-4f4c-93e1-7b4f1d6c7dbb" providerId="ADAL" clId="{F2414A70-A442-4434-9D95-D6398AB4636C}" dt="2023-02-14T09:14:24.688" v="447" actId="1076"/>
        <pc:sldMkLst>
          <pc:docMk/>
          <pc:sldMk cId="1301746540" sldId="2147471048"/>
        </pc:sldMkLst>
        <pc:spChg chg="mod">
          <ac:chgData name="Tanna, Nishant Kiritbhai" userId="d1370780-4bcf-4f4c-93e1-7b4f1d6c7dbb" providerId="ADAL" clId="{F2414A70-A442-4434-9D95-D6398AB4636C}" dt="2023-02-13T16:05:21.691" v="62" actId="1035"/>
          <ac:spMkLst>
            <pc:docMk/>
            <pc:sldMk cId="1301746540" sldId="2147471048"/>
            <ac:spMk id="2" creationId="{983642F4-A8BC-41B4-A292-F7F8D7D64DBA}"/>
          </ac:spMkLst>
        </pc:spChg>
        <pc:spChg chg="mod">
          <ac:chgData name="Tanna, Nishant Kiritbhai" userId="d1370780-4bcf-4f4c-93e1-7b4f1d6c7dbb" providerId="ADAL" clId="{F2414A70-A442-4434-9D95-D6398AB4636C}" dt="2023-02-14T09:14:16.177" v="445" actId="6549"/>
          <ac:spMkLst>
            <pc:docMk/>
            <pc:sldMk cId="1301746540" sldId="2147471048"/>
            <ac:spMk id="10" creationId="{85E3AA83-7C55-47E7-95B4-D90EA99182E2}"/>
          </ac:spMkLst>
        </pc:spChg>
        <pc:spChg chg="mod">
          <ac:chgData name="Tanna, Nishant Kiritbhai" userId="d1370780-4bcf-4f4c-93e1-7b4f1d6c7dbb" providerId="ADAL" clId="{F2414A70-A442-4434-9D95-D6398AB4636C}" dt="2023-02-14T04:33:10.399" v="224" actId="20577"/>
          <ac:spMkLst>
            <pc:docMk/>
            <pc:sldMk cId="1301746540" sldId="2147471048"/>
            <ac:spMk id="12" creationId="{C30DE4ED-05D8-450A-82B9-66388C9ACCDF}"/>
          </ac:spMkLst>
        </pc:spChg>
        <pc:grpChg chg="del">
          <ac:chgData name="Tanna, Nishant Kiritbhai" userId="d1370780-4bcf-4f4c-93e1-7b4f1d6c7dbb" providerId="ADAL" clId="{F2414A70-A442-4434-9D95-D6398AB4636C}" dt="2023-02-14T09:14:18.623" v="446" actId="478"/>
          <ac:grpSpMkLst>
            <pc:docMk/>
            <pc:sldMk cId="1301746540" sldId="2147471048"/>
            <ac:grpSpMk id="8" creationId="{9D024791-FE8F-4517-88F4-25CF79F96B01}"/>
          </ac:grpSpMkLst>
        </pc:grpChg>
        <pc:grpChg chg="mod">
          <ac:chgData name="Tanna, Nishant Kiritbhai" userId="d1370780-4bcf-4f4c-93e1-7b4f1d6c7dbb" providerId="ADAL" clId="{F2414A70-A442-4434-9D95-D6398AB4636C}" dt="2023-02-14T09:14:24.688" v="447" actId="1076"/>
          <ac:grpSpMkLst>
            <pc:docMk/>
            <pc:sldMk cId="1301746540" sldId="2147471048"/>
            <ac:grpSpMk id="11" creationId="{C7162F3D-8900-48B3-9ECE-35EB696D7E93}"/>
          </ac:grpSpMkLst>
        </pc:grpChg>
      </pc:sldChg>
      <pc:sldChg chg="modSp mod">
        <pc:chgData name="Tanna, Nishant Kiritbhai" userId="d1370780-4bcf-4f4c-93e1-7b4f1d6c7dbb" providerId="ADAL" clId="{F2414A70-A442-4434-9D95-D6398AB4636C}" dt="2023-02-14T04:27:17.253" v="180"/>
        <pc:sldMkLst>
          <pc:docMk/>
          <pc:sldMk cId="2921878727" sldId="2147471050"/>
        </pc:sldMkLst>
        <pc:spChg chg="mod">
          <ac:chgData name="Tanna, Nishant Kiritbhai" userId="d1370780-4bcf-4f4c-93e1-7b4f1d6c7dbb" providerId="ADAL" clId="{F2414A70-A442-4434-9D95-D6398AB4636C}" dt="2023-02-13T13:13:10.481" v="37" actId="20577"/>
          <ac:spMkLst>
            <pc:docMk/>
            <pc:sldMk cId="2921878727" sldId="2147471050"/>
            <ac:spMk id="7" creationId="{B5AF4F8B-9256-49F9-A4FD-9FD26FAE66AE}"/>
          </ac:spMkLst>
        </pc:spChg>
        <pc:graphicFrameChg chg="mod modGraphic">
          <ac:chgData name="Tanna, Nishant Kiritbhai" userId="d1370780-4bcf-4f4c-93e1-7b4f1d6c7dbb" providerId="ADAL" clId="{F2414A70-A442-4434-9D95-D6398AB4636C}" dt="2023-02-14T04:27:17.253" v="180"/>
          <ac:graphicFrameMkLst>
            <pc:docMk/>
            <pc:sldMk cId="2921878727" sldId="2147471050"/>
            <ac:graphicFrameMk id="17" creationId="{00000000-0000-0000-0000-000000000000}"/>
          </ac:graphicFrameMkLst>
        </pc:graphicFrameChg>
      </pc:sldChg>
      <pc:sldChg chg="del ord">
        <pc:chgData name="Tanna, Nishant Kiritbhai" userId="d1370780-4bcf-4f4c-93e1-7b4f1d6c7dbb" providerId="ADAL" clId="{F2414A70-A442-4434-9D95-D6398AB4636C}" dt="2023-02-13T13:27:07.682" v="52" actId="47"/>
        <pc:sldMkLst>
          <pc:docMk/>
          <pc:sldMk cId="2127467916" sldId="2147471051"/>
        </pc:sldMkLst>
      </pc:sldChg>
      <pc:sldChg chg="delSp modSp mod delCm">
        <pc:chgData name="Tanna, Nishant Kiritbhai" userId="d1370780-4bcf-4f4c-93e1-7b4f1d6c7dbb" providerId="ADAL" clId="{F2414A70-A442-4434-9D95-D6398AB4636C}" dt="2023-02-14T09:13:01.186" v="443" actId="1076"/>
        <pc:sldMkLst>
          <pc:docMk/>
          <pc:sldMk cId="3571490006" sldId="2147471052"/>
        </pc:sldMkLst>
        <pc:spChg chg="del mod topLvl">
          <ac:chgData name="Tanna, Nishant Kiritbhai" userId="d1370780-4bcf-4f4c-93e1-7b4f1d6c7dbb" providerId="ADAL" clId="{F2414A70-A442-4434-9D95-D6398AB4636C}" dt="2023-02-14T09:12:48.154" v="439" actId="478"/>
          <ac:spMkLst>
            <pc:docMk/>
            <pc:sldMk cId="3571490006" sldId="2147471052"/>
            <ac:spMk id="2" creationId="{D4D33B79-B49F-F810-6C69-FC4BEAAB5699}"/>
          </ac:spMkLst>
        </pc:spChg>
        <pc:spChg chg="del mod topLvl">
          <ac:chgData name="Tanna, Nishant Kiritbhai" userId="d1370780-4bcf-4f4c-93e1-7b4f1d6c7dbb" providerId="ADAL" clId="{F2414A70-A442-4434-9D95-D6398AB4636C}" dt="2023-02-14T09:12:53.757" v="442" actId="478"/>
          <ac:spMkLst>
            <pc:docMk/>
            <pc:sldMk cId="3571490006" sldId="2147471052"/>
            <ac:spMk id="3" creationId="{B5C07C29-1D53-7FCB-9BC1-EA2AFD62A44C}"/>
          </ac:spMkLst>
        </pc:spChg>
        <pc:grpChg chg="del">
          <ac:chgData name="Tanna, Nishant Kiritbhai" userId="d1370780-4bcf-4f4c-93e1-7b4f1d6c7dbb" providerId="ADAL" clId="{F2414A70-A442-4434-9D95-D6398AB4636C}" dt="2023-02-14T09:12:48.154" v="439" actId="478"/>
          <ac:grpSpMkLst>
            <pc:docMk/>
            <pc:sldMk cId="3571490006" sldId="2147471052"/>
            <ac:grpSpMk id="7" creationId="{3661DA3F-01CC-4F75-9A06-C8E8C2E31859}"/>
          </ac:grpSpMkLst>
        </pc:grpChg>
        <pc:grpChg chg="mod">
          <ac:chgData name="Tanna, Nishant Kiritbhai" userId="d1370780-4bcf-4f4c-93e1-7b4f1d6c7dbb" providerId="ADAL" clId="{F2414A70-A442-4434-9D95-D6398AB4636C}" dt="2023-02-14T09:13:01.186" v="443" actId="1076"/>
          <ac:grpSpMkLst>
            <pc:docMk/>
            <pc:sldMk cId="3571490006" sldId="2147471052"/>
            <ac:grpSpMk id="14" creationId="{E77505E1-8DB1-4560-A71E-94647B40C48D}"/>
          </ac:grpSpMkLst>
        </pc:grpChg>
        <pc:graphicFrameChg chg="modGraphic">
          <ac:chgData name="Tanna, Nishant Kiritbhai" userId="d1370780-4bcf-4f4c-93e1-7b4f1d6c7dbb" providerId="ADAL" clId="{F2414A70-A442-4434-9D95-D6398AB4636C}" dt="2023-02-14T07:32:33.643" v="425" actId="113"/>
          <ac:graphicFrameMkLst>
            <pc:docMk/>
            <pc:sldMk cId="3571490006" sldId="2147471052"/>
            <ac:graphicFrameMk id="16" creationId="{227C20C8-57CF-09B7-FBFC-303CD58ABA38}"/>
          </ac:graphicFrameMkLst>
        </pc:graphicFrameChg>
      </pc:sldChg>
      <pc:sldChg chg="delSp mod">
        <pc:chgData name="Tanna, Nishant Kiritbhai" userId="d1370780-4bcf-4f4c-93e1-7b4f1d6c7dbb" providerId="ADAL" clId="{F2414A70-A442-4434-9D95-D6398AB4636C}" dt="2023-02-14T09:13:49.617" v="444" actId="478"/>
        <pc:sldMkLst>
          <pc:docMk/>
          <pc:sldMk cId="2949949596" sldId="2147471053"/>
        </pc:sldMkLst>
        <pc:grpChg chg="del">
          <ac:chgData name="Tanna, Nishant Kiritbhai" userId="d1370780-4bcf-4f4c-93e1-7b4f1d6c7dbb" providerId="ADAL" clId="{F2414A70-A442-4434-9D95-D6398AB4636C}" dt="2023-02-14T09:13:49.617" v="444" actId="478"/>
          <ac:grpSpMkLst>
            <pc:docMk/>
            <pc:sldMk cId="2949949596" sldId="2147471053"/>
            <ac:grpSpMk id="4" creationId="{0816173C-BE67-4939-800B-8500D1B2E5A0}"/>
          </ac:grpSpMkLst>
        </pc:grpChg>
      </pc:sldChg>
      <pc:sldChg chg="delCm">
        <pc:chgData name="Tanna, Nishant Kiritbhai" userId="d1370780-4bcf-4f4c-93e1-7b4f1d6c7dbb" providerId="ADAL" clId="{F2414A70-A442-4434-9D95-D6398AB4636C}" dt="2023-02-14T08:02:10.296" v="437"/>
        <pc:sldMkLst>
          <pc:docMk/>
          <pc:sldMk cId="3779177291" sldId="2147471057"/>
        </pc:sldMkLst>
      </pc:sldChg>
      <pc:sldChg chg="delSp modSp mod">
        <pc:chgData name="Tanna, Nishant Kiritbhai" userId="d1370780-4bcf-4f4c-93e1-7b4f1d6c7dbb" providerId="ADAL" clId="{F2414A70-A442-4434-9D95-D6398AB4636C}" dt="2023-02-14T04:32:33.282" v="213" actId="1076"/>
        <pc:sldMkLst>
          <pc:docMk/>
          <pc:sldMk cId="1267791050" sldId="2147471059"/>
        </pc:sldMkLst>
        <pc:spChg chg="del mod">
          <ac:chgData name="Tanna, Nishant Kiritbhai" userId="d1370780-4bcf-4f4c-93e1-7b4f1d6c7dbb" providerId="ADAL" clId="{F2414A70-A442-4434-9D95-D6398AB4636C}" dt="2023-02-14T04:32:20.206" v="209" actId="478"/>
          <ac:spMkLst>
            <pc:docMk/>
            <pc:sldMk cId="1267791050" sldId="2147471059"/>
            <ac:spMk id="2" creationId="{D4D33B79-B49F-F810-6C69-FC4BEAAB5699}"/>
          </ac:spMkLst>
        </pc:spChg>
        <pc:spChg chg="del mod">
          <ac:chgData name="Tanna, Nishant Kiritbhai" userId="d1370780-4bcf-4f4c-93e1-7b4f1d6c7dbb" providerId="ADAL" clId="{F2414A70-A442-4434-9D95-D6398AB4636C}" dt="2023-02-14T04:32:26.363" v="212" actId="478"/>
          <ac:spMkLst>
            <pc:docMk/>
            <pc:sldMk cId="1267791050" sldId="2147471059"/>
            <ac:spMk id="3" creationId="{B5C07C29-1D53-7FCB-9BC1-EA2AFD62A44C}"/>
          </ac:spMkLst>
        </pc:spChg>
        <pc:spChg chg="mod">
          <ac:chgData name="Tanna, Nishant Kiritbhai" userId="d1370780-4bcf-4f4c-93e1-7b4f1d6c7dbb" providerId="ADAL" clId="{F2414A70-A442-4434-9D95-D6398AB4636C}" dt="2023-02-13T13:26:10.412" v="50" actId="20577"/>
          <ac:spMkLst>
            <pc:docMk/>
            <pc:sldMk cId="1267791050" sldId="2147471059"/>
            <ac:spMk id="4" creationId="{7FDDA687-E645-EC1C-10EA-1785F7FFDF9D}"/>
          </ac:spMkLst>
        </pc:spChg>
        <pc:grpChg chg="mod">
          <ac:chgData name="Tanna, Nishant Kiritbhai" userId="d1370780-4bcf-4f4c-93e1-7b4f1d6c7dbb" providerId="ADAL" clId="{F2414A70-A442-4434-9D95-D6398AB4636C}" dt="2023-02-14T04:32:33.282" v="213" actId="1076"/>
          <ac:grpSpMkLst>
            <pc:docMk/>
            <pc:sldMk cId="1267791050" sldId="2147471059"/>
            <ac:grpSpMk id="12" creationId="{A1D28DC1-DD57-4DC8-A745-3A7791C6353C}"/>
          </ac:grpSpMkLst>
        </pc:grpChg>
      </pc:sldChg>
      <pc:sldChg chg="modSp mod">
        <pc:chgData name="Tanna, Nishant Kiritbhai" userId="d1370780-4bcf-4f4c-93e1-7b4f1d6c7dbb" providerId="ADAL" clId="{F2414A70-A442-4434-9D95-D6398AB4636C}" dt="2023-02-14T09:15:28.465" v="454" actId="108"/>
        <pc:sldMkLst>
          <pc:docMk/>
          <pc:sldMk cId="2071297880" sldId="2147471060"/>
        </pc:sldMkLst>
        <pc:spChg chg="mod">
          <ac:chgData name="Tanna, Nishant Kiritbhai" userId="d1370780-4bcf-4f4c-93e1-7b4f1d6c7dbb" providerId="ADAL" clId="{F2414A70-A442-4434-9D95-D6398AB4636C}" dt="2023-02-13T13:13:29.147" v="38"/>
          <ac:spMkLst>
            <pc:docMk/>
            <pc:sldMk cId="2071297880" sldId="2147471060"/>
            <ac:spMk id="7" creationId="{827A3002-450F-469D-B917-B46831848A69}"/>
          </ac:spMkLst>
        </pc:spChg>
        <pc:graphicFrameChg chg="mod modGraphic">
          <ac:chgData name="Tanna, Nishant Kiritbhai" userId="d1370780-4bcf-4f4c-93e1-7b4f1d6c7dbb" providerId="ADAL" clId="{F2414A70-A442-4434-9D95-D6398AB4636C}" dt="2023-02-14T09:15:28.465" v="454" actId="108"/>
          <ac:graphicFrameMkLst>
            <pc:docMk/>
            <pc:sldMk cId="2071297880" sldId="2147471060"/>
            <ac:graphicFrameMk id="17" creationId="{00000000-0000-0000-0000-000000000000}"/>
          </ac:graphicFrameMkLst>
        </pc:graphicFrameChg>
      </pc:sldChg>
      <pc:sldChg chg="modSp mod">
        <pc:chgData name="Tanna, Nishant Kiritbhai" userId="d1370780-4bcf-4f4c-93e1-7b4f1d6c7dbb" providerId="ADAL" clId="{F2414A70-A442-4434-9D95-D6398AB4636C}" dt="2023-02-13T13:14:11.548" v="49" actId="20577"/>
        <pc:sldMkLst>
          <pc:docMk/>
          <pc:sldMk cId="1965610247" sldId="2147471061"/>
        </pc:sldMkLst>
        <pc:spChg chg="mod">
          <ac:chgData name="Tanna, Nishant Kiritbhai" userId="d1370780-4bcf-4f4c-93e1-7b4f1d6c7dbb" providerId="ADAL" clId="{F2414A70-A442-4434-9D95-D6398AB4636C}" dt="2023-02-13T13:14:11.548" v="49" actId="20577"/>
          <ac:spMkLst>
            <pc:docMk/>
            <pc:sldMk cId="1965610247" sldId="2147471061"/>
            <ac:spMk id="3" creationId="{4058A5FE-D89B-4DAF-8646-F440A73F289F}"/>
          </ac:spMkLst>
        </pc:spChg>
      </pc:sldChg>
      <pc:sldChg chg="addSp delSp del mod">
        <pc:chgData name="Tanna, Nishant Kiritbhai" userId="d1370780-4bcf-4f4c-93e1-7b4f1d6c7dbb" providerId="ADAL" clId="{F2414A70-A442-4434-9D95-D6398AB4636C}" dt="2023-02-14T06:56:25.439" v="290" actId="47"/>
        <pc:sldMkLst>
          <pc:docMk/>
          <pc:sldMk cId="454488944" sldId="2147471063"/>
        </pc:sldMkLst>
        <pc:spChg chg="add del">
          <ac:chgData name="Tanna, Nishant Kiritbhai" userId="d1370780-4bcf-4f4c-93e1-7b4f1d6c7dbb" providerId="ADAL" clId="{F2414A70-A442-4434-9D95-D6398AB4636C}" dt="2023-02-14T06:51:38.117" v="226" actId="22"/>
          <ac:spMkLst>
            <pc:docMk/>
            <pc:sldMk cId="454488944" sldId="2147471063"/>
            <ac:spMk id="6" creationId="{5A859D58-4844-465F-8EE2-591D4D37614D}"/>
          </ac:spMkLst>
        </pc:spChg>
      </pc:sldChg>
      <pc:sldChg chg="delSp modSp add del mod">
        <pc:chgData name="Tanna, Nishant Kiritbhai" userId="d1370780-4bcf-4f4c-93e1-7b4f1d6c7dbb" providerId="ADAL" clId="{F2414A70-A442-4434-9D95-D6398AB4636C}" dt="2023-02-14T06:53:31.390" v="252" actId="47"/>
        <pc:sldMkLst>
          <pc:docMk/>
          <pc:sldMk cId="3390353889" sldId="2147471064"/>
        </pc:sldMkLst>
        <pc:spChg chg="del mod">
          <ac:chgData name="Tanna, Nishant Kiritbhai" userId="d1370780-4bcf-4f4c-93e1-7b4f1d6c7dbb" providerId="ADAL" clId="{F2414A70-A442-4434-9D95-D6398AB4636C}" dt="2023-02-14T06:52:19.018" v="231" actId="478"/>
          <ac:spMkLst>
            <pc:docMk/>
            <pc:sldMk cId="3390353889" sldId="2147471064"/>
            <ac:spMk id="38" creationId="{1527763B-D3F2-411D-87FC-F5C28618A7AB}"/>
          </ac:spMkLst>
        </pc:spChg>
        <pc:grpChg chg="mod">
          <ac:chgData name="Tanna, Nishant Kiritbhai" userId="d1370780-4bcf-4f4c-93e1-7b4f1d6c7dbb" providerId="ADAL" clId="{F2414A70-A442-4434-9D95-D6398AB4636C}" dt="2023-02-14T06:52:10.256" v="228" actId="14100"/>
          <ac:grpSpMkLst>
            <pc:docMk/>
            <pc:sldMk cId="3390353889" sldId="2147471064"/>
            <ac:grpSpMk id="26" creationId="{3AC96897-C570-49CF-A5CF-1B4B69FC3014}"/>
          </ac:grpSpMkLst>
        </pc:grpChg>
      </pc:sldChg>
      <pc:sldChg chg="modSp add mod delCm">
        <pc:chgData name="Tanna, Nishant Kiritbhai" userId="d1370780-4bcf-4f4c-93e1-7b4f1d6c7dbb" providerId="ADAL" clId="{F2414A70-A442-4434-9D95-D6398AB4636C}" dt="2023-02-14T14:01:40.976" v="455" actId="14100"/>
        <pc:sldMkLst>
          <pc:docMk/>
          <pc:sldMk cId="55273925" sldId="2147471065"/>
        </pc:sldMkLst>
        <pc:spChg chg="mod">
          <ac:chgData name="Tanna, Nishant Kiritbhai" userId="d1370780-4bcf-4f4c-93e1-7b4f1d6c7dbb" providerId="ADAL" clId="{F2414A70-A442-4434-9D95-D6398AB4636C}" dt="2023-02-14T06:55:06.128" v="289" actId="14100"/>
          <ac:spMkLst>
            <pc:docMk/>
            <pc:sldMk cId="55273925" sldId="2147471065"/>
            <ac:spMk id="38" creationId="{1527763B-D3F2-411D-87FC-F5C28618A7AB}"/>
          </ac:spMkLst>
        </pc:spChg>
        <pc:spChg chg="mod">
          <ac:chgData name="Tanna, Nishant Kiritbhai" userId="d1370780-4bcf-4f4c-93e1-7b4f1d6c7dbb" providerId="ADAL" clId="{F2414A70-A442-4434-9D95-D6398AB4636C}" dt="2023-02-14T06:54:09.570" v="263" actId="14100"/>
          <ac:spMkLst>
            <pc:docMk/>
            <pc:sldMk cId="55273925" sldId="2147471065"/>
            <ac:spMk id="47" creationId="{BC099FE2-DBEF-4181-8EC0-C5781FF2AAE2}"/>
          </ac:spMkLst>
        </pc:spChg>
        <pc:grpChg chg="mod">
          <ac:chgData name="Tanna, Nishant Kiritbhai" userId="d1370780-4bcf-4f4c-93e1-7b4f1d6c7dbb" providerId="ADAL" clId="{F2414A70-A442-4434-9D95-D6398AB4636C}" dt="2023-02-14T06:53:09.793" v="251" actId="14100"/>
          <ac:grpSpMkLst>
            <pc:docMk/>
            <pc:sldMk cId="55273925" sldId="2147471065"/>
            <ac:grpSpMk id="26" creationId="{3AC96897-C570-49CF-A5CF-1B4B69FC3014}"/>
          </ac:grpSpMkLst>
        </pc:grpChg>
        <pc:cxnChg chg="mod">
          <ac:chgData name="Tanna, Nishant Kiritbhai" userId="d1370780-4bcf-4f4c-93e1-7b4f1d6c7dbb" providerId="ADAL" clId="{F2414A70-A442-4434-9D95-D6398AB4636C}" dt="2023-02-14T14:01:40.976" v="455" actId="14100"/>
          <ac:cxnSpMkLst>
            <pc:docMk/>
            <pc:sldMk cId="55273925" sldId="2147471065"/>
            <ac:cxnSpMk id="68" creationId="{92FB5644-F34B-4AB7-9871-D3E5DFAD5CF7}"/>
          </ac:cxnSpMkLst>
        </pc:cxnChg>
      </pc:sldChg>
      <pc:sldChg chg="add">
        <pc:chgData name="Tanna, Nishant Kiritbhai" userId="d1370780-4bcf-4f4c-93e1-7b4f1d6c7dbb" providerId="ADAL" clId="{F2414A70-A442-4434-9D95-D6398AB4636C}" dt="2023-02-14T14:12:19.902" v="456"/>
        <pc:sldMkLst>
          <pc:docMk/>
          <pc:sldMk cId="3953194295" sldId="2147471066"/>
        </pc:sldMkLst>
      </pc:sldChg>
      <pc:sldMasterChg chg="delSldLayout">
        <pc:chgData name="Tanna, Nishant Kiritbhai" userId="d1370780-4bcf-4f4c-93e1-7b4f1d6c7dbb" providerId="ADAL" clId="{F2414A70-A442-4434-9D95-D6398AB4636C}" dt="2023-02-13T13:27:07.682" v="52" actId="47"/>
        <pc:sldMasterMkLst>
          <pc:docMk/>
          <pc:sldMasterMk cId="1715277791" sldId="2147483993"/>
        </pc:sldMasterMkLst>
        <pc:sldLayoutChg chg="del">
          <pc:chgData name="Tanna, Nishant Kiritbhai" userId="d1370780-4bcf-4f4c-93e1-7b4f1d6c7dbb" providerId="ADAL" clId="{F2414A70-A442-4434-9D95-D6398AB4636C}" dt="2023-02-13T13:27:07.682" v="52" actId="47"/>
          <pc:sldLayoutMkLst>
            <pc:docMk/>
            <pc:sldMasterMk cId="1715277791" sldId="2147483993"/>
            <pc:sldLayoutMk cId="343691544" sldId="2147484071"/>
          </pc:sldLayoutMkLst>
        </pc:sldLayoutChg>
      </pc:sldMasterChg>
    </pc:docChg>
  </pc:docChgLst>
  <pc:docChgLst>
    <pc:chgData name="Aggarwal, Swati" userId="7c6fd466-31a4-4cc7-a822-7292e39ff70e" providerId="ADAL" clId="{942BCBB4-E1DA-482C-901C-EA42F619A1ED}"/>
    <pc:docChg chg="sldOrd">
      <pc:chgData name="Aggarwal, Swati" userId="7c6fd466-31a4-4cc7-a822-7292e39ff70e" providerId="ADAL" clId="{942BCBB4-E1DA-482C-901C-EA42F619A1ED}" dt="2023-03-01T09:17:52.945" v="0" actId="20578"/>
      <pc:docMkLst>
        <pc:docMk/>
      </pc:docMkLst>
      <pc:sldChg chg="ord">
        <pc:chgData name="Aggarwal, Swati" userId="7c6fd466-31a4-4cc7-a822-7292e39ff70e" providerId="ADAL" clId="{942BCBB4-E1DA-482C-901C-EA42F619A1ED}" dt="2023-03-01T09:17:52.945" v="0" actId="20578"/>
        <pc:sldMkLst>
          <pc:docMk/>
          <pc:sldMk cId="3343091185" sldId="2145704809"/>
        </pc:sldMkLst>
      </pc:sldChg>
    </pc:docChg>
  </pc:docChgLst>
  <pc:docChgLst>
    <pc:chgData name="Alvarez, Becky" userId="S::bealvarez@deloitte.com::188f73ca-c6f1-4f7f-be0c-e80beec6d4d1" providerId="AD" clId="Web-{2A0E4290-12E8-4695-AAF9-824DA4D2BAAA}"/>
    <pc:docChg chg="delSld modSld">
      <pc:chgData name="Alvarez, Becky" userId="S::bealvarez@deloitte.com::188f73ca-c6f1-4f7f-be0c-e80beec6d4d1" providerId="AD" clId="Web-{2A0E4290-12E8-4695-AAF9-824DA4D2BAAA}" dt="2023-02-14T14:19:14.502" v="25"/>
      <pc:docMkLst>
        <pc:docMk/>
      </pc:docMkLst>
      <pc:sldChg chg="del">
        <pc:chgData name="Alvarez, Becky" userId="S::bealvarez@deloitte.com::188f73ca-c6f1-4f7f-be0c-e80beec6d4d1" providerId="AD" clId="Web-{2A0E4290-12E8-4695-AAF9-824DA4D2BAAA}" dt="2023-02-14T14:19:14.502" v="25"/>
        <pc:sldMkLst>
          <pc:docMk/>
          <pc:sldMk cId="1301746540" sldId="2147471048"/>
        </pc:sldMkLst>
      </pc:sldChg>
      <pc:sldChg chg="addSp modSp">
        <pc:chgData name="Alvarez, Becky" userId="S::bealvarez@deloitte.com::188f73ca-c6f1-4f7f-be0c-e80beec6d4d1" providerId="AD" clId="Web-{2A0E4290-12E8-4695-AAF9-824DA4D2BAAA}" dt="2023-02-14T14:18:26.189" v="24" actId="1076"/>
        <pc:sldMkLst>
          <pc:docMk/>
          <pc:sldMk cId="3953194295" sldId="2147471066"/>
        </pc:sldMkLst>
        <pc:cxnChg chg="add mod">
          <ac:chgData name="Alvarez, Becky" userId="S::bealvarez@deloitte.com::188f73ca-c6f1-4f7f-be0c-e80beec6d4d1" providerId="AD" clId="Web-{2A0E4290-12E8-4695-AAF9-824DA4D2BAAA}" dt="2023-02-14T14:16:29.420" v="9" actId="14100"/>
          <ac:cxnSpMkLst>
            <pc:docMk/>
            <pc:sldMk cId="3953194295" sldId="2147471066"/>
            <ac:cxnSpMk id="2" creationId="{EF72F6E2-9036-92A6-627D-A899E25A2807}"/>
          </ac:cxnSpMkLst>
        </pc:cxnChg>
        <pc:cxnChg chg="mod">
          <ac:chgData name="Alvarez, Becky" userId="S::bealvarez@deloitte.com::188f73ca-c6f1-4f7f-be0c-e80beec6d4d1" providerId="AD" clId="Web-{2A0E4290-12E8-4695-AAF9-824DA4D2BAAA}" dt="2023-02-14T14:15:42.810" v="4" actId="14100"/>
          <ac:cxnSpMkLst>
            <pc:docMk/>
            <pc:sldMk cId="3953194295" sldId="2147471066"/>
            <ac:cxnSpMk id="20" creationId="{C4A75BC5-0E53-31D1-D743-1DB1DE8EB5BF}"/>
          </ac:cxnSpMkLst>
        </pc:cxnChg>
        <pc:cxnChg chg="add mod">
          <ac:chgData name="Alvarez, Becky" userId="S::bealvarez@deloitte.com::188f73ca-c6f1-4f7f-be0c-e80beec6d4d1" providerId="AD" clId="Web-{2A0E4290-12E8-4695-AAF9-824DA4D2BAAA}" dt="2023-02-14T14:16:39.874" v="11" actId="1076"/>
          <ac:cxnSpMkLst>
            <pc:docMk/>
            <pc:sldMk cId="3953194295" sldId="2147471066"/>
            <ac:cxnSpMk id="21" creationId="{08FA7E4C-0D3A-CCA0-87B9-7F5B1054C2AE}"/>
          </ac:cxnSpMkLst>
        </pc:cxnChg>
        <pc:cxnChg chg="add mod">
          <ac:chgData name="Alvarez, Becky" userId="S::bealvarez@deloitte.com::188f73ca-c6f1-4f7f-be0c-e80beec6d4d1" providerId="AD" clId="Web-{2A0E4290-12E8-4695-AAF9-824DA4D2BAAA}" dt="2023-02-14T14:17:04.952" v="16" actId="14100"/>
          <ac:cxnSpMkLst>
            <pc:docMk/>
            <pc:sldMk cId="3953194295" sldId="2147471066"/>
            <ac:cxnSpMk id="22" creationId="{FC965161-2A02-5F6E-75B8-E35E3A5C14E9}"/>
          </ac:cxnSpMkLst>
        </pc:cxnChg>
        <pc:cxnChg chg="add mod">
          <ac:chgData name="Alvarez, Becky" userId="S::bealvarez@deloitte.com::188f73ca-c6f1-4f7f-be0c-e80beec6d4d1" providerId="AD" clId="Web-{2A0E4290-12E8-4695-AAF9-824DA4D2BAAA}" dt="2023-02-14T14:17:30.015" v="19" actId="14100"/>
          <ac:cxnSpMkLst>
            <pc:docMk/>
            <pc:sldMk cId="3953194295" sldId="2147471066"/>
            <ac:cxnSpMk id="23" creationId="{B2DB151B-BFED-1224-A42D-5DC5549A8976}"/>
          </ac:cxnSpMkLst>
        </pc:cxnChg>
        <pc:cxnChg chg="add mod">
          <ac:chgData name="Alvarez, Becky" userId="S::bealvarez@deloitte.com::188f73ca-c6f1-4f7f-be0c-e80beec6d4d1" providerId="AD" clId="Web-{2A0E4290-12E8-4695-AAF9-824DA4D2BAAA}" dt="2023-02-14T14:17:51.891" v="22" actId="14100"/>
          <ac:cxnSpMkLst>
            <pc:docMk/>
            <pc:sldMk cId="3953194295" sldId="2147471066"/>
            <ac:cxnSpMk id="24" creationId="{628ED858-6D55-1DD9-0094-88B391C7AC17}"/>
          </ac:cxnSpMkLst>
        </pc:cxnChg>
        <pc:cxnChg chg="add mod">
          <ac:chgData name="Alvarez, Becky" userId="S::bealvarez@deloitte.com::188f73ca-c6f1-4f7f-be0c-e80beec6d4d1" providerId="AD" clId="Web-{2A0E4290-12E8-4695-AAF9-824DA4D2BAAA}" dt="2023-02-14T14:18:26.189" v="24" actId="1076"/>
          <ac:cxnSpMkLst>
            <pc:docMk/>
            <pc:sldMk cId="3953194295" sldId="2147471066"/>
            <ac:cxnSpMk id="25" creationId="{8470DAF2-36F0-EA2C-10F1-80646962858B}"/>
          </ac:cxnSpMkLst>
        </pc:cxnChg>
      </pc:sldChg>
    </pc:docChg>
  </pc:docChgLst>
  <pc:docChgLst>
    <pc:chgData name="Khan, Salman" userId="S::salmankhan4@deloitte.com::6272095a-5948-43a2-9775-c628ca61972d" providerId="AD" clId="Web-{29102F1A-1AF5-4FE2-A08F-A5FDB920F9AA}"/>
    <pc:docChg chg="mod">
      <pc:chgData name="Khan, Salman" userId="S::salmankhan4@deloitte.com::6272095a-5948-43a2-9775-c628ca61972d" providerId="AD" clId="Web-{29102F1A-1AF5-4FE2-A08F-A5FDB920F9AA}" dt="2023-02-13T03:17:08.942" v="3"/>
      <pc:docMkLst>
        <pc:docMk/>
      </pc:docMkLst>
      <pc:sldChg chg="addCm">
        <pc:chgData name="Khan, Salman" userId="S::salmankhan4@deloitte.com::6272095a-5948-43a2-9775-c628ca61972d" providerId="AD" clId="Web-{29102F1A-1AF5-4FE2-A08F-A5FDB920F9AA}" dt="2023-02-13T03:15:25.768" v="2"/>
        <pc:sldMkLst>
          <pc:docMk/>
          <pc:sldMk cId="3402747004" sldId="2147468777"/>
        </pc:sldMkLst>
      </pc:sldChg>
      <pc:sldChg chg="addCm">
        <pc:chgData name="Khan, Salman" userId="S::salmankhan4@deloitte.com::6272095a-5948-43a2-9775-c628ca61972d" providerId="AD" clId="Web-{29102F1A-1AF5-4FE2-A08F-A5FDB920F9AA}" dt="2023-02-13T03:17:08.942" v="3"/>
        <pc:sldMkLst>
          <pc:docMk/>
          <pc:sldMk cId="1301746540" sldId="2147471048"/>
        </pc:sldMkLst>
      </pc:sldChg>
      <pc:sldChg chg="addCm">
        <pc:chgData name="Khan, Salman" userId="S::salmankhan4@deloitte.com::6272095a-5948-43a2-9775-c628ca61972d" providerId="AD" clId="Web-{29102F1A-1AF5-4FE2-A08F-A5FDB920F9AA}" dt="2023-02-13T03:14:30.439" v="1"/>
        <pc:sldMkLst>
          <pc:docMk/>
          <pc:sldMk cId="3779177291" sldId="2147471057"/>
        </pc:sldMkLst>
      </pc:sldChg>
    </pc:docChg>
  </pc:docChgLst>
  <pc:docChgLst>
    <pc:chgData name="Tanna, Nishant Kiritbhai" userId="d1370780-4bcf-4f4c-93e1-7b4f1d6c7dbb" providerId="ADAL" clId="{EA699907-3F30-4705-8A2E-FC466FA804AE}"/>
    <pc:docChg chg="custSel addSld delSld modSld">
      <pc:chgData name="Tanna, Nishant Kiritbhai" userId="d1370780-4bcf-4f4c-93e1-7b4f1d6c7dbb" providerId="ADAL" clId="{EA699907-3F30-4705-8A2E-FC466FA804AE}" dt="2023-04-14T14:14:53.598" v="63" actId="1036"/>
      <pc:docMkLst>
        <pc:docMk/>
      </pc:docMkLst>
      <pc:sldChg chg="modSp mod">
        <pc:chgData name="Tanna, Nishant Kiritbhai" userId="d1370780-4bcf-4f4c-93e1-7b4f1d6c7dbb" providerId="ADAL" clId="{EA699907-3F30-4705-8A2E-FC466FA804AE}" dt="2023-04-14T14:14:53.598" v="63" actId="1036"/>
        <pc:sldMkLst>
          <pc:docMk/>
          <pc:sldMk cId="352092785" sldId="2147471001"/>
        </pc:sldMkLst>
        <pc:picChg chg="mod">
          <ac:chgData name="Tanna, Nishant Kiritbhai" userId="d1370780-4bcf-4f4c-93e1-7b4f1d6c7dbb" providerId="ADAL" clId="{EA699907-3F30-4705-8A2E-FC466FA804AE}" dt="2023-04-14T14:14:53.598" v="63" actId="1036"/>
          <ac:picMkLst>
            <pc:docMk/>
            <pc:sldMk cId="352092785" sldId="2147471001"/>
            <ac:picMk id="33" creationId="{02E75A12-2152-4A77-9F1C-83ECA47810FF}"/>
          </ac:picMkLst>
        </pc:picChg>
        <pc:picChg chg="mod">
          <ac:chgData name="Tanna, Nishant Kiritbhai" userId="d1370780-4bcf-4f4c-93e1-7b4f1d6c7dbb" providerId="ADAL" clId="{EA699907-3F30-4705-8A2E-FC466FA804AE}" dt="2023-04-14T14:14:53.598" v="63" actId="1036"/>
          <ac:picMkLst>
            <pc:docMk/>
            <pc:sldMk cId="352092785" sldId="2147471001"/>
            <ac:picMk id="36" creationId="{9F2763FC-0A01-4C8A-A678-E6E04D037601}"/>
          </ac:picMkLst>
        </pc:picChg>
        <pc:picChg chg="mod">
          <ac:chgData name="Tanna, Nishant Kiritbhai" userId="d1370780-4bcf-4f4c-93e1-7b4f1d6c7dbb" providerId="ADAL" clId="{EA699907-3F30-4705-8A2E-FC466FA804AE}" dt="2023-04-14T14:14:53.598" v="63" actId="1036"/>
          <ac:picMkLst>
            <pc:docMk/>
            <pc:sldMk cId="352092785" sldId="2147471001"/>
            <ac:picMk id="38" creationId="{228AFDB9-338B-48B4-B877-E4735FD4F64E}"/>
          </ac:picMkLst>
        </pc:picChg>
        <pc:picChg chg="mod">
          <ac:chgData name="Tanna, Nishant Kiritbhai" userId="d1370780-4bcf-4f4c-93e1-7b4f1d6c7dbb" providerId="ADAL" clId="{EA699907-3F30-4705-8A2E-FC466FA804AE}" dt="2023-04-14T14:14:53.598" v="63" actId="1036"/>
          <ac:picMkLst>
            <pc:docMk/>
            <pc:sldMk cId="352092785" sldId="2147471001"/>
            <ac:picMk id="40" creationId="{F0C73F2E-78FE-47AA-B53D-60B2FE5DA9A6}"/>
          </ac:picMkLst>
        </pc:picChg>
        <pc:cxnChg chg="mod">
          <ac:chgData name="Tanna, Nishant Kiritbhai" userId="d1370780-4bcf-4f4c-93e1-7b4f1d6c7dbb" providerId="ADAL" clId="{EA699907-3F30-4705-8A2E-FC466FA804AE}" dt="2023-04-14T14:14:53.598" v="63" actId="1036"/>
          <ac:cxnSpMkLst>
            <pc:docMk/>
            <pc:sldMk cId="352092785" sldId="2147471001"/>
            <ac:cxnSpMk id="20" creationId="{D8A54585-96C1-4E4B-9E6B-C18E48226AB8}"/>
          </ac:cxnSpMkLst>
        </pc:cxnChg>
        <pc:cxnChg chg="mod">
          <ac:chgData name="Tanna, Nishant Kiritbhai" userId="d1370780-4bcf-4f4c-93e1-7b4f1d6c7dbb" providerId="ADAL" clId="{EA699907-3F30-4705-8A2E-FC466FA804AE}" dt="2023-04-14T14:14:53.598" v="63" actId="1036"/>
          <ac:cxnSpMkLst>
            <pc:docMk/>
            <pc:sldMk cId="352092785" sldId="2147471001"/>
            <ac:cxnSpMk id="22" creationId="{5A169FA9-F682-4CF3-AD7D-F1167232ED38}"/>
          </ac:cxnSpMkLst>
        </pc:cxnChg>
        <pc:cxnChg chg="mod">
          <ac:chgData name="Tanna, Nishant Kiritbhai" userId="d1370780-4bcf-4f4c-93e1-7b4f1d6c7dbb" providerId="ADAL" clId="{EA699907-3F30-4705-8A2E-FC466FA804AE}" dt="2023-04-14T14:14:53.598" v="63" actId="1036"/>
          <ac:cxnSpMkLst>
            <pc:docMk/>
            <pc:sldMk cId="352092785" sldId="2147471001"/>
            <ac:cxnSpMk id="51" creationId="{560ACB24-2122-47E9-8DB7-3382E7921BC0}"/>
          </ac:cxnSpMkLst>
        </pc:cxnChg>
        <pc:cxnChg chg="mod">
          <ac:chgData name="Tanna, Nishant Kiritbhai" userId="d1370780-4bcf-4f4c-93e1-7b4f1d6c7dbb" providerId="ADAL" clId="{EA699907-3F30-4705-8A2E-FC466FA804AE}" dt="2023-04-14T14:14:53.598" v="63" actId="1036"/>
          <ac:cxnSpMkLst>
            <pc:docMk/>
            <pc:sldMk cId="352092785" sldId="2147471001"/>
            <ac:cxnSpMk id="55" creationId="{8855C3D9-312C-4C8E-BD31-46F94B185BD6}"/>
          </ac:cxnSpMkLst>
        </pc:cxnChg>
      </pc:sldChg>
      <pc:sldChg chg="addSp delSp modSp">
        <pc:chgData name="Tanna, Nishant Kiritbhai" userId="d1370780-4bcf-4f4c-93e1-7b4f1d6c7dbb" providerId="ADAL" clId="{EA699907-3F30-4705-8A2E-FC466FA804AE}" dt="2023-03-27T07:41:25.252" v="60"/>
        <pc:sldMkLst>
          <pc:docMk/>
          <pc:sldMk cId="1267791050" sldId="2147471059"/>
        </pc:sldMkLst>
        <pc:spChg chg="add del mod">
          <ac:chgData name="Tanna, Nishant Kiritbhai" userId="d1370780-4bcf-4f4c-93e1-7b4f1d6c7dbb" providerId="ADAL" clId="{EA699907-3F30-4705-8A2E-FC466FA804AE}" dt="2023-03-27T07:41:25.252" v="60"/>
          <ac:spMkLst>
            <pc:docMk/>
            <pc:sldMk cId="1267791050" sldId="2147471059"/>
            <ac:spMk id="9" creationId="{402E9762-53A9-4A49-8488-38FEF56C02B1}"/>
          </ac:spMkLst>
        </pc:spChg>
        <pc:spChg chg="add del mod">
          <ac:chgData name="Tanna, Nishant Kiritbhai" userId="d1370780-4bcf-4f4c-93e1-7b4f1d6c7dbb" providerId="ADAL" clId="{EA699907-3F30-4705-8A2E-FC466FA804AE}" dt="2023-03-27T07:41:25.252" v="60"/>
          <ac:spMkLst>
            <pc:docMk/>
            <pc:sldMk cId="1267791050" sldId="2147471059"/>
            <ac:spMk id="10" creationId="{0BFD205A-4F52-46AF-B9DA-6AD401AD8BB7}"/>
          </ac:spMkLst>
        </pc:spChg>
        <pc:spChg chg="add del mod">
          <ac:chgData name="Tanna, Nishant Kiritbhai" userId="d1370780-4bcf-4f4c-93e1-7b4f1d6c7dbb" providerId="ADAL" clId="{EA699907-3F30-4705-8A2E-FC466FA804AE}" dt="2023-03-27T07:41:25.252" v="60"/>
          <ac:spMkLst>
            <pc:docMk/>
            <pc:sldMk cId="1267791050" sldId="2147471059"/>
            <ac:spMk id="11" creationId="{C01ECA27-7020-402E-AD1B-40B60309B1AE}"/>
          </ac:spMkLst>
        </pc:spChg>
        <pc:spChg chg="add del mod">
          <ac:chgData name="Tanna, Nishant Kiritbhai" userId="d1370780-4bcf-4f4c-93e1-7b4f1d6c7dbb" providerId="ADAL" clId="{EA699907-3F30-4705-8A2E-FC466FA804AE}" dt="2023-03-27T07:41:25.252" v="60"/>
          <ac:spMkLst>
            <pc:docMk/>
            <pc:sldMk cId="1267791050" sldId="2147471059"/>
            <ac:spMk id="13" creationId="{EEAE3D77-ADA0-47A3-A234-DDC89BE5190D}"/>
          </ac:spMkLst>
        </pc:spChg>
        <pc:spChg chg="add del mod">
          <ac:chgData name="Tanna, Nishant Kiritbhai" userId="d1370780-4bcf-4f4c-93e1-7b4f1d6c7dbb" providerId="ADAL" clId="{EA699907-3F30-4705-8A2E-FC466FA804AE}" dt="2023-03-27T07:41:25.252" v="60"/>
          <ac:spMkLst>
            <pc:docMk/>
            <pc:sldMk cId="1267791050" sldId="2147471059"/>
            <ac:spMk id="14" creationId="{260CDF31-149B-412C-B94F-CAC0B0F312D6}"/>
          </ac:spMkLst>
        </pc:spChg>
        <pc:spChg chg="add del mod">
          <ac:chgData name="Tanna, Nishant Kiritbhai" userId="d1370780-4bcf-4f4c-93e1-7b4f1d6c7dbb" providerId="ADAL" clId="{EA699907-3F30-4705-8A2E-FC466FA804AE}" dt="2023-03-27T07:41:25.252" v="60"/>
          <ac:spMkLst>
            <pc:docMk/>
            <pc:sldMk cId="1267791050" sldId="2147471059"/>
            <ac:spMk id="15" creationId="{4E45999A-886B-4DF0-96E8-E80BF067400E}"/>
          </ac:spMkLst>
        </pc:spChg>
        <pc:spChg chg="add del mod">
          <ac:chgData name="Tanna, Nishant Kiritbhai" userId="d1370780-4bcf-4f4c-93e1-7b4f1d6c7dbb" providerId="ADAL" clId="{EA699907-3F30-4705-8A2E-FC466FA804AE}" dt="2023-03-27T07:41:25.252" v="60"/>
          <ac:spMkLst>
            <pc:docMk/>
            <pc:sldMk cId="1267791050" sldId="2147471059"/>
            <ac:spMk id="16" creationId="{E5C1A34D-9F8D-40EE-A0BF-6EE2F0374B52}"/>
          </ac:spMkLst>
        </pc:spChg>
        <pc:spChg chg="add del mod">
          <ac:chgData name="Tanna, Nishant Kiritbhai" userId="d1370780-4bcf-4f4c-93e1-7b4f1d6c7dbb" providerId="ADAL" clId="{EA699907-3F30-4705-8A2E-FC466FA804AE}" dt="2023-03-27T07:41:25.252" v="60"/>
          <ac:spMkLst>
            <pc:docMk/>
            <pc:sldMk cId="1267791050" sldId="2147471059"/>
            <ac:spMk id="18" creationId="{3765190D-C49F-44AD-9AC1-3C7A5070E244}"/>
          </ac:spMkLst>
        </pc:spChg>
        <pc:spChg chg="add del mod">
          <ac:chgData name="Tanna, Nishant Kiritbhai" userId="d1370780-4bcf-4f4c-93e1-7b4f1d6c7dbb" providerId="ADAL" clId="{EA699907-3F30-4705-8A2E-FC466FA804AE}" dt="2023-03-27T07:41:25.252" v="60"/>
          <ac:spMkLst>
            <pc:docMk/>
            <pc:sldMk cId="1267791050" sldId="2147471059"/>
            <ac:spMk id="19" creationId="{6C8CECEE-D109-46D0-A452-B61558693642}"/>
          </ac:spMkLst>
        </pc:spChg>
        <pc:spChg chg="add del mod">
          <ac:chgData name="Tanna, Nishant Kiritbhai" userId="d1370780-4bcf-4f4c-93e1-7b4f1d6c7dbb" providerId="ADAL" clId="{EA699907-3F30-4705-8A2E-FC466FA804AE}" dt="2023-03-27T07:41:25.252" v="60"/>
          <ac:spMkLst>
            <pc:docMk/>
            <pc:sldMk cId="1267791050" sldId="2147471059"/>
            <ac:spMk id="20" creationId="{CFB7E53E-9207-43D6-93B7-82DEC3AE8AA7}"/>
          </ac:spMkLst>
        </pc:spChg>
      </pc:sldChg>
      <pc:sldChg chg="modSp mod">
        <pc:chgData name="Tanna, Nishant Kiritbhai" userId="d1370780-4bcf-4f4c-93e1-7b4f1d6c7dbb" providerId="ADAL" clId="{EA699907-3F30-4705-8A2E-FC466FA804AE}" dt="2023-03-27T05:14:20.162" v="2" actId="1035"/>
        <pc:sldMkLst>
          <pc:docMk/>
          <pc:sldMk cId="55273925" sldId="2147471065"/>
        </pc:sldMkLst>
        <pc:grpChg chg="mod">
          <ac:chgData name="Tanna, Nishant Kiritbhai" userId="d1370780-4bcf-4f4c-93e1-7b4f1d6c7dbb" providerId="ADAL" clId="{EA699907-3F30-4705-8A2E-FC466FA804AE}" dt="2023-03-27T05:14:20.162" v="2" actId="1035"/>
          <ac:grpSpMkLst>
            <pc:docMk/>
            <pc:sldMk cId="55273925" sldId="2147471065"/>
            <ac:grpSpMk id="5" creationId="{A151BF3E-7B05-44EE-BBF6-31707E80A615}"/>
          </ac:grpSpMkLst>
        </pc:grpChg>
        <pc:grpChg chg="mod">
          <ac:chgData name="Tanna, Nishant Kiritbhai" userId="d1370780-4bcf-4f4c-93e1-7b4f1d6c7dbb" providerId="ADAL" clId="{EA699907-3F30-4705-8A2E-FC466FA804AE}" dt="2023-03-27T05:14:20.162" v="2" actId="1035"/>
          <ac:grpSpMkLst>
            <pc:docMk/>
            <pc:sldMk cId="55273925" sldId="2147471065"/>
            <ac:grpSpMk id="26" creationId="{3AC96897-C570-49CF-A5CF-1B4B69FC3014}"/>
          </ac:grpSpMkLst>
        </pc:grpChg>
      </pc:sldChg>
      <pc:sldChg chg="addSp delSp modSp add del mod">
        <pc:chgData name="Tanna, Nishant Kiritbhai" userId="d1370780-4bcf-4f4c-93e1-7b4f1d6c7dbb" providerId="ADAL" clId="{EA699907-3F30-4705-8A2E-FC466FA804AE}" dt="2023-03-27T07:31:23.238" v="58" actId="2696"/>
        <pc:sldMkLst>
          <pc:docMk/>
          <pc:sldMk cId="3958604263" sldId="2147471067"/>
        </pc:sldMkLst>
        <pc:spChg chg="mod">
          <ac:chgData name="Tanna, Nishant Kiritbhai" userId="d1370780-4bcf-4f4c-93e1-7b4f1d6c7dbb" providerId="ADAL" clId="{EA699907-3F30-4705-8A2E-FC466FA804AE}" dt="2023-03-27T07:29:09.916" v="6" actId="6549"/>
          <ac:spMkLst>
            <pc:docMk/>
            <pc:sldMk cId="3958604263" sldId="2147471067"/>
            <ac:spMk id="5" creationId="{3C25657C-19D4-4B93-B96C-DACEDD67D364}"/>
          </ac:spMkLst>
        </pc:spChg>
        <pc:spChg chg="mod">
          <ac:chgData name="Tanna, Nishant Kiritbhai" userId="d1370780-4bcf-4f4c-93e1-7b4f1d6c7dbb" providerId="ADAL" clId="{EA699907-3F30-4705-8A2E-FC466FA804AE}" dt="2023-03-27T07:29:17.531" v="47" actId="20577"/>
          <ac:spMkLst>
            <pc:docMk/>
            <pc:sldMk cId="3958604263" sldId="2147471067"/>
            <ac:spMk id="6" creationId="{8EFD8275-551B-4DF5-A435-C98C676C2BE1}"/>
          </ac:spMkLst>
        </pc:spChg>
        <pc:spChg chg="add mod">
          <ac:chgData name="Tanna, Nishant Kiritbhai" userId="d1370780-4bcf-4f4c-93e1-7b4f1d6c7dbb" providerId="ADAL" clId="{EA699907-3F30-4705-8A2E-FC466FA804AE}" dt="2023-03-27T07:29:18.495" v="48"/>
          <ac:spMkLst>
            <pc:docMk/>
            <pc:sldMk cId="3958604263" sldId="2147471067"/>
            <ac:spMk id="7" creationId="{78D606B1-01D6-436E-9C4E-BDF85016D5D3}"/>
          </ac:spMkLst>
        </pc:spChg>
        <pc:spChg chg="add mod">
          <ac:chgData name="Tanna, Nishant Kiritbhai" userId="d1370780-4bcf-4f4c-93e1-7b4f1d6c7dbb" providerId="ADAL" clId="{EA699907-3F30-4705-8A2E-FC466FA804AE}" dt="2023-03-27T07:30:28.890" v="57" actId="1035"/>
          <ac:spMkLst>
            <pc:docMk/>
            <pc:sldMk cId="3958604263" sldId="2147471067"/>
            <ac:spMk id="8" creationId="{F96B49DE-4C13-4954-ADE7-745F90782122}"/>
          </ac:spMkLst>
        </pc:spChg>
        <pc:spChg chg="add mod">
          <ac:chgData name="Tanna, Nishant Kiritbhai" userId="d1370780-4bcf-4f4c-93e1-7b4f1d6c7dbb" providerId="ADAL" clId="{EA699907-3F30-4705-8A2E-FC466FA804AE}" dt="2023-03-27T07:29:53.497" v="54" actId="14100"/>
          <ac:spMkLst>
            <pc:docMk/>
            <pc:sldMk cId="3958604263" sldId="2147471067"/>
            <ac:spMk id="11" creationId="{1721F36E-83D2-4C28-9C14-5EEC647F91C8}"/>
          </ac:spMkLst>
        </pc:spChg>
        <pc:grpChg chg="del">
          <ac:chgData name="Tanna, Nishant Kiritbhai" userId="d1370780-4bcf-4f4c-93e1-7b4f1d6c7dbb" providerId="ADAL" clId="{EA699907-3F30-4705-8A2E-FC466FA804AE}" dt="2023-03-27T07:29:05" v="4" actId="478"/>
          <ac:grpSpMkLst>
            <pc:docMk/>
            <pc:sldMk cId="3958604263" sldId="2147471067"/>
            <ac:grpSpMk id="19" creationId="{3AB97157-3F63-4E5A-882D-0F33808D87AF}"/>
          </ac:grpSpMkLst>
        </pc:grpChg>
        <pc:picChg chg="add mod">
          <ac:chgData name="Tanna, Nishant Kiritbhai" userId="d1370780-4bcf-4f4c-93e1-7b4f1d6c7dbb" providerId="ADAL" clId="{EA699907-3F30-4705-8A2E-FC466FA804AE}" dt="2023-03-27T07:30:05.407" v="56" actId="208"/>
          <ac:picMkLst>
            <pc:docMk/>
            <pc:sldMk cId="3958604263" sldId="2147471067"/>
            <ac:picMk id="9" creationId="{3E6FF65E-E2D6-43C5-AFE7-0ABA7054BF80}"/>
          </ac:picMkLst>
        </pc:picChg>
        <pc:picChg chg="add mod">
          <ac:chgData name="Tanna, Nishant Kiritbhai" userId="d1370780-4bcf-4f4c-93e1-7b4f1d6c7dbb" providerId="ADAL" clId="{EA699907-3F30-4705-8A2E-FC466FA804AE}" dt="2023-03-27T07:29:28.695" v="49" actId="14100"/>
          <ac:picMkLst>
            <pc:docMk/>
            <pc:sldMk cId="3958604263" sldId="2147471067"/>
            <ac:picMk id="10" creationId="{DC2BAB46-1F1F-43DB-833A-F3D05DB3E195}"/>
          </ac:picMkLst>
        </pc:picChg>
        <pc:picChg chg="add mod">
          <ac:chgData name="Tanna, Nishant Kiritbhai" userId="d1370780-4bcf-4f4c-93e1-7b4f1d6c7dbb" providerId="ADAL" clId="{EA699907-3F30-4705-8A2E-FC466FA804AE}" dt="2023-03-27T07:29:42.900" v="52" actId="1076"/>
          <ac:picMkLst>
            <pc:docMk/>
            <pc:sldMk cId="3958604263" sldId="2147471067"/>
            <ac:picMk id="12" creationId="{A9517823-90AE-4A9F-9BA2-0F9F4203726D}"/>
          </ac:picMkLst>
        </pc:picChg>
      </pc:sldChg>
    </pc:docChg>
  </pc:docChgLst>
  <pc:docChgLst>
    <pc:chgData name="Saini, Deepak" userId="S::dsaini@deloitte.com::e80dbb9a-4b07-4a9f-88ef-d15fa0089888" providerId="AD" clId="Web-{625FFFC9-AE52-4B55-9000-4F30A9F5C030}"/>
    <pc:docChg chg="modSld">
      <pc:chgData name="Saini, Deepak" userId="S::dsaini@deloitte.com::e80dbb9a-4b07-4a9f-88ef-d15fa0089888" providerId="AD" clId="Web-{625FFFC9-AE52-4B55-9000-4F30A9F5C030}" dt="2023-02-13T15:21:46.462" v="37"/>
      <pc:docMkLst>
        <pc:docMk/>
      </pc:docMkLst>
      <pc:sldChg chg="modSp">
        <pc:chgData name="Saini, Deepak" userId="S::dsaini@deloitte.com::e80dbb9a-4b07-4a9f-88ef-d15fa0089888" providerId="AD" clId="Web-{625FFFC9-AE52-4B55-9000-4F30A9F5C030}" dt="2023-02-13T15:04:17.814" v="32"/>
        <pc:sldMkLst>
          <pc:docMk/>
          <pc:sldMk cId="2992909095" sldId="2147470975"/>
        </pc:sldMkLst>
        <pc:graphicFrameChg chg="mod modGraphic">
          <ac:chgData name="Saini, Deepak" userId="S::dsaini@deloitte.com::e80dbb9a-4b07-4a9f-88ef-d15fa0089888" providerId="AD" clId="Web-{625FFFC9-AE52-4B55-9000-4F30A9F5C030}" dt="2023-02-13T15:04:17.814" v="32"/>
          <ac:graphicFrameMkLst>
            <pc:docMk/>
            <pc:sldMk cId="2992909095" sldId="2147470975"/>
            <ac:graphicFrameMk id="17" creationId="{00000000-0000-0000-0000-000000000000}"/>
          </ac:graphicFrameMkLst>
        </pc:graphicFrameChg>
      </pc:sldChg>
      <pc:sldChg chg="addCm">
        <pc:chgData name="Saini, Deepak" userId="S::dsaini@deloitte.com::e80dbb9a-4b07-4a9f-88ef-d15fa0089888" providerId="AD" clId="Web-{625FFFC9-AE52-4B55-9000-4F30A9F5C030}" dt="2023-02-13T15:07:15.943" v="33"/>
        <pc:sldMkLst>
          <pc:docMk/>
          <pc:sldMk cId="352092785" sldId="2147471001"/>
        </pc:sldMkLst>
      </pc:sldChg>
      <pc:sldChg chg="modSp addCm">
        <pc:chgData name="Saini, Deepak" userId="S::dsaini@deloitte.com::e80dbb9a-4b07-4a9f-88ef-d15fa0089888" providerId="AD" clId="Web-{625FFFC9-AE52-4B55-9000-4F30A9F5C030}" dt="2023-02-13T15:21:46.462" v="37"/>
        <pc:sldMkLst>
          <pc:docMk/>
          <pc:sldMk cId="1301746540" sldId="2147471048"/>
        </pc:sldMkLst>
        <pc:spChg chg="mod">
          <ac:chgData name="Saini, Deepak" userId="S::dsaini@deloitte.com::e80dbb9a-4b07-4a9f-88ef-d15fa0089888" providerId="AD" clId="Web-{625FFFC9-AE52-4B55-9000-4F30A9F5C030}" dt="2023-02-13T15:20:58.602" v="36" actId="14100"/>
          <ac:spMkLst>
            <pc:docMk/>
            <pc:sldMk cId="1301746540" sldId="2147471048"/>
            <ac:spMk id="2" creationId="{983642F4-A8BC-41B4-A292-F7F8D7D64DBA}"/>
          </ac:spMkLst>
        </pc:spChg>
      </pc:sldChg>
      <pc:sldChg chg="addCm">
        <pc:chgData name="Saini, Deepak" userId="S::dsaini@deloitte.com::e80dbb9a-4b07-4a9f-88ef-d15fa0089888" providerId="AD" clId="Web-{625FFFC9-AE52-4B55-9000-4F30A9F5C030}" dt="2023-02-13T15:20:38.929" v="35"/>
        <pc:sldMkLst>
          <pc:docMk/>
          <pc:sldMk cId="3571490006" sldId="2147471052"/>
        </pc:sldMkLst>
      </pc:sldChg>
      <pc:sldChg chg="modSp">
        <pc:chgData name="Saini, Deepak" userId="S::dsaini@deloitte.com::e80dbb9a-4b07-4a9f-88ef-d15fa0089888" providerId="AD" clId="Web-{625FFFC9-AE52-4B55-9000-4F30A9F5C030}" dt="2023-02-13T15:03:09.797" v="0" actId="1076"/>
        <pc:sldMkLst>
          <pc:docMk/>
          <pc:sldMk cId="2949949596" sldId="2147471053"/>
        </pc:sldMkLst>
        <pc:spChg chg="mod">
          <ac:chgData name="Saini, Deepak" userId="S::dsaini@deloitte.com::e80dbb9a-4b07-4a9f-88ef-d15fa0089888" providerId="AD" clId="Web-{625FFFC9-AE52-4B55-9000-4F30A9F5C030}" dt="2023-02-13T15:03:09.797" v="0" actId="1076"/>
          <ac:spMkLst>
            <pc:docMk/>
            <pc:sldMk cId="2949949596" sldId="2147471053"/>
            <ac:spMk id="3" creationId="{B5C07C29-1D53-7FCB-9BC1-EA2AFD62A44C}"/>
          </ac:spMkLst>
        </pc:spChg>
      </pc:sldChg>
      <pc:sldChg chg="addCm">
        <pc:chgData name="Saini, Deepak" userId="S::dsaini@deloitte.com::e80dbb9a-4b07-4a9f-88ef-d15fa0089888" providerId="AD" clId="Web-{625FFFC9-AE52-4B55-9000-4F30A9F5C030}" dt="2023-02-13T15:10:26.182" v="34"/>
        <pc:sldMkLst>
          <pc:docMk/>
          <pc:sldMk cId="3779177291" sldId="2147471057"/>
        </pc:sldMkLst>
      </pc:sldChg>
    </pc:docChg>
  </pc:docChgLst>
  <pc:docChgLst>
    <pc:chgData name="Alvarez, Becky" userId="S::bealvarez@deloitte.com::188f73ca-c6f1-4f7f-be0c-e80beec6d4d1" providerId="AD" clId="Web-{CBD67CB9-F2FF-4348-B28C-942BF394FB48}"/>
    <pc:docChg chg="modSld sldOrd">
      <pc:chgData name="Alvarez, Becky" userId="S::bealvarez@deloitte.com::188f73ca-c6f1-4f7f-be0c-e80beec6d4d1" providerId="AD" clId="Web-{CBD67CB9-F2FF-4348-B28C-942BF394FB48}" dt="2023-02-13T15:29:48.164" v="758"/>
      <pc:docMkLst>
        <pc:docMk/>
      </pc:docMkLst>
      <pc:sldChg chg="modSp">
        <pc:chgData name="Alvarez, Becky" userId="S::bealvarez@deloitte.com::188f73ca-c6f1-4f7f-be0c-e80beec6d4d1" providerId="AD" clId="Web-{CBD67CB9-F2FF-4348-B28C-942BF394FB48}" dt="2023-02-13T15:26:24.442" v="755" actId="20577"/>
        <pc:sldMkLst>
          <pc:docMk/>
          <pc:sldMk cId="3343091185" sldId="2145704809"/>
        </pc:sldMkLst>
        <pc:spChg chg="mod">
          <ac:chgData name="Alvarez, Becky" userId="S::bealvarez@deloitte.com::188f73ca-c6f1-4f7f-be0c-e80beec6d4d1" providerId="AD" clId="Web-{CBD67CB9-F2FF-4348-B28C-942BF394FB48}" dt="2023-02-13T15:26:24.442" v="755" actId="20577"/>
          <ac:spMkLst>
            <pc:docMk/>
            <pc:sldMk cId="3343091185" sldId="2145704809"/>
            <ac:spMk id="39" creationId="{3A5C0AEC-B8BB-4A6C-A589-8C0549577440}"/>
          </ac:spMkLst>
        </pc:spChg>
      </pc:sldChg>
      <pc:sldChg chg="ord">
        <pc:chgData name="Alvarez, Becky" userId="S::bealvarez@deloitte.com::188f73ca-c6f1-4f7f-be0c-e80beec6d4d1" providerId="AD" clId="Web-{CBD67CB9-F2FF-4348-B28C-942BF394FB48}" dt="2023-02-13T15:29:48.164" v="758"/>
        <pc:sldMkLst>
          <pc:docMk/>
          <pc:sldMk cId="183456641" sldId="2147471023"/>
        </pc:sldMkLst>
      </pc:sldChg>
      <pc:sldChg chg="ord">
        <pc:chgData name="Alvarez, Becky" userId="S::bealvarez@deloitte.com::188f73ca-c6f1-4f7f-be0c-e80beec6d4d1" providerId="AD" clId="Web-{CBD67CB9-F2FF-4348-B28C-942BF394FB48}" dt="2023-02-13T15:29:46.445" v="757"/>
        <pc:sldMkLst>
          <pc:docMk/>
          <pc:sldMk cId="1210427756" sldId="2147471027"/>
        </pc:sldMkLst>
      </pc:sldChg>
      <pc:sldChg chg="modSp">
        <pc:chgData name="Alvarez, Becky" userId="S::bealvarez@deloitte.com::188f73ca-c6f1-4f7f-be0c-e80beec6d4d1" providerId="AD" clId="Web-{CBD67CB9-F2FF-4348-B28C-942BF394FB48}" dt="2023-02-13T14:27:58.252" v="59"/>
        <pc:sldMkLst>
          <pc:docMk/>
          <pc:sldMk cId="1317580537" sldId="2147471044"/>
        </pc:sldMkLst>
        <pc:graphicFrameChg chg="mod modGraphic">
          <ac:chgData name="Alvarez, Becky" userId="S::bealvarez@deloitte.com::188f73ca-c6f1-4f7f-be0c-e80beec6d4d1" providerId="AD" clId="Web-{CBD67CB9-F2FF-4348-B28C-942BF394FB48}" dt="2023-02-13T14:27:58.252" v="59"/>
          <ac:graphicFrameMkLst>
            <pc:docMk/>
            <pc:sldMk cId="1317580537" sldId="2147471044"/>
            <ac:graphicFrameMk id="31" creationId="{86D29932-240A-4696-A6BC-848BC6CFD33E}"/>
          </ac:graphicFrameMkLst>
        </pc:graphicFrameChg>
      </pc:sldChg>
      <pc:sldChg chg="addSp delSp modSp">
        <pc:chgData name="Alvarez, Becky" userId="S::bealvarez@deloitte.com::188f73ca-c6f1-4f7f-be0c-e80beec6d4d1" providerId="AD" clId="Web-{CBD67CB9-F2FF-4348-B28C-942BF394FB48}" dt="2023-02-13T15:22:27.812" v="748" actId="20577"/>
        <pc:sldMkLst>
          <pc:docMk/>
          <pc:sldMk cId="3571490006" sldId="2147471052"/>
        </pc:sldMkLst>
        <pc:spChg chg="mod">
          <ac:chgData name="Alvarez, Becky" userId="S::bealvarez@deloitte.com::188f73ca-c6f1-4f7f-be0c-e80beec6d4d1" providerId="AD" clId="Web-{CBD67CB9-F2FF-4348-B28C-942BF394FB48}" dt="2023-02-13T15:22:27.812" v="748" actId="20577"/>
          <ac:spMkLst>
            <pc:docMk/>
            <pc:sldMk cId="3571490006" sldId="2147471052"/>
            <ac:spMk id="2" creationId="{D4D33B79-B49F-F810-6C69-FC4BEAAB5699}"/>
          </ac:spMkLst>
        </pc:spChg>
        <pc:spChg chg="mod">
          <ac:chgData name="Alvarez, Becky" userId="S::bealvarez@deloitte.com::188f73ca-c6f1-4f7f-be0c-e80beec6d4d1" providerId="AD" clId="Web-{CBD67CB9-F2FF-4348-B28C-942BF394FB48}" dt="2023-02-13T15:21:58.374" v="745" actId="1076"/>
          <ac:spMkLst>
            <pc:docMk/>
            <pc:sldMk cId="3571490006" sldId="2147471052"/>
            <ac:spMk id="3" creationId="{B5C07C29-1D53-7FCB-9BC1-EA2AFD62A44C}"/>
          </ac:spMkLst>
        </pc:spChg>
        <pc:grpChg chg="mod">
          <ac:chgData name="Alvarez, Becky" userId="S::bealvarez@deloitte.com::188f73ca-c6f1-4f7f-be0c-e80beec6d4d1" providerId="AD" clId="Web-{CBD67CB9-F2FF-4348-B28C-942BF394FB48}" dt="2023-02-13T15:21:51.155" v="744" actId="14100"/>
          <ac:grpSpMkLst>
            <pc:docMk/>
            <pc:sldMk cId="3571490006" sldId="2147471052"/>
            <ac:grpSpMk id="7" creationId="{3661DA3F-01CC-4F75-9A06-C8E8C2E31859}"/>
          </ac:grpSpMkLst>
        </pc:grpChg>
        <pc:graphicFrameChg chg="add del mod">
          <ac:chgData name="Alvarez, Becky" userId="S::bealvarez@deloitte.com::188f73ca-c6f1-4f7f-be0c-e80beec6d4d1" providerId="AD" clId="Web-{CBD67CB9-F2FF-4348-B28C-942BF394FB48}" dt="2023-02-13T14:27:46.220" v="57"/>
          <ac:graphicFrameMkLst>
            <pc:docMk/>
            <pc:sldMk cId="3571490006" sldId="2147471052"/>
            <ac:graphicFrameMk id="10" creationId="{DDF937EF-4954-3531-E259-F769BA6DB4BC}"/>
          </ac:graphicFrameMkLst>
        </pc:graphicFrameChg>
        <pc:graphicFrameChg chg="add mod modGraphic">
          <ac:chgData name="Alvarez, Becky" userId="S::bealvarez@deloitte.com::188f73ca-c6f1-4f7f-be0c-e80beec6d4d1" providerId="AD" clId="Web-{CBD67CB9-F2FF-4348-B28C-942BF394FB48}" dt="2023-02-13T14:51:48.309" v="637"/>
          <ac:graphicFrameMkLst>
            <pc:docMk/>
            <pc:sldMk cId="3571490006" sldId="2147471052"/>
            <ac:graphicFrameMk id="16" creationId="{227C20C8-57CF-09B7-FBFC-303CD58ABA38}"/>
          </ac:graphicFrameMkLst>
        </pc:graphicFrameChg>
      </pc:sldChg>
      <pc:sldChg chg="modSp">
        <pc:chgData name="Alvarez, Becky" userId="S::bealvarez@deloitte.com::188f73ca-c6f1-4f7f-be0c-e80beec6d4d1" providerId="AD" clId="Web-{CBD67CB9-F2FF-4348-B28C-942BF394FB48}" dt="2023-02-13T15:22:08.109" v="746" actId="1076"/>
        <pc:sldMkLst>
          <pc:docMk/>
          <pc:sldMk cId="2949949596" sldId="2147471053"/>
        </pc:sldMkLst>
        <pc:spChg chg="mod">
          <ac:chgData name="Alvarez, Becky" userId="S::bealvarez@deloitte.com::188f73ca-c6f1-4f7f-be0c-e80beec6d4d1" providerId="AD" clId="Web-{CBD67CB9-F2FF-4348-B28C-942BF394FB48}" dt="2023-02-13T15:12:39.801" v="645" actId="20577"/>
          <ac:spMkLst>
            <pc:docMk/>
            <pc:sldMk cId="2949949596" sldId="2147471053"/>
            <ac:spMk id="2" creationId="{D4D33B79-B49F-F810-6C69-FC4BEAAB5699}"/>
          </ac:spMkLst>
        </pc:spChg>
        <pc:spChg chg="mod">
          <ac:chgData name="Alvarez, Becky" userId="S::bealvarez@deloitte.com::188f73ca-c6f1-4f7f-be0c-e80beec6d4d1" providerId="AD" clId="Web-{CBD67CB9-F2FF-4348-B28C-942BF394FB48}" dt="2023-02-13T15:22:08.109" v="746" actId="1076"/>
          <ac:spMkLst>
            <pc:docMk/>
            <pc:sldMk cId="2949949596" sldId="2147471053"/>
            <ac:spMk id="3" creationId="{B5C07C29-1D53-7FCB-9BC1-EA2AFD62A44C}"/>
          </ac:spMkLst>
        </pc:spChg>
        <pc:grpChg chg="mod">
          <ac:chgData name="Alvarez, Becky" userId="S::bealvarez@deloitte.com::188f73ca-c6f1-4f7f-be0c-e80beec6d4d1" providerId="AD" clId="Web-{CBD67CB9-F2FF-4348-B28C-942BF394FB48}" dt="2023-02-13T14:28:17.205" v="71" actId="14100"/>
          <ac:grpSpMkLst>
            <pc:docMk/>
            <pc:sldMk cId="2949949596" sldId="2147471053"/>
            <ac:grpSpMk id="4" creationId="{0816173C-BE67-4939-800B-8500D1B2E5A0}"/>
          </ac:grpSpMkLst>
        </pc:grpChg>
      </pc:sldChg>
      <pc:sldChg chg="ord">
        <pc:chgData name="Alvarez, Becky" userId="S::bealvarez@deloitte.com::188f73ca-c6f1-4f7f-be0c-e80beec6d4d1" providerId="AD" clId="Web-{CBD67CB9-F2FF-4348-B28C-942BF394FB48}" dt="2023-02-13T15:29:28.898" v="756"/>
        <pc:sldMkLst>
          <pc:docMk/>
          <pc:sldMk cId="3779177291" sldId="2147471057"/>
        </pc:sldMkLst>
      </pc:sldChg>
      <pc:sldChg chg="modSp">
        <pc:chgData name="Alvarez, Becky" userId="S::bealvarez@deloitte.com::188f73ca-c6f1-4f7f-be0c-e80beec6d4d1" providerId="AD" clId="Web-{CBD67CB9-F2FF-4348-B28C-942BF394FB48}" dt="2023-02-13T15:10:39.939" v="643" actId="20577"/>
        <pc:sldMkLst>
          <pc:docMk/>
          <pc:sldMk cId="1267791050" sldId="2147471059"/>
        </pc:sldMkLst>
        <pc:spChg chg="mod">
          <ac:chgData name="Alvarez, Becky" userId="S::bealvarez@deloitte.com::188f73ca-c6f1-4f7f-be0c-e80beec6d4d1" providerId="AD" clId="Web-{CBD67CB9-F2FF-4348-B28C-942BF394FB48}" dt="2023-02-13T15:10:39.939" v="643" actId="20577"/>
          <ac:spMkLst>
            <pc:docMk/>
            <pc:sldMk cId="1267791050" sldId="2147471059"/>
            <ac:spMk id="2" creationId="{D4D33B79-B49F-F810-6C69-FC4BEAAB5699}"/>
          </ac:spMkLst>
        </pc:spChg>
      </pc:sldChg>
    </pc:docChg>
  </pc:docChgLst>
  <pc:docChgLst>
    <pc:chgData name="Alvarez, Becky" userId="S::bealvarez@deloitte.com::188f73ca-c6f1-4f7f-be0c-e80beec6d4d1" providerId="AD" clId="Web-{EEAD50ED-FC84-4D3A-A07E-8FD1987BCC2A}"/>
    <pc:docChg chg="addSld delSld modSld sldOrd">
      <pc:chgData name="Alvarez, Becky" userId="S::bealvarez@deloitte.com::188f73ca-c6f1-4f7f-be0c-e80beec6d4d1" providerId="AD" clId="Web-{EEAD50ED-FC84-4D3A-A07E-8FD1987BCC2A}" dt="2023-02-13T19:52:04.410" v="754" actId="14100"/>
      <pc:docMkLst>
        <pc:docMk/>
      </pc:docMkLst>
      <pc:sldChg chg="addSp delSp modSp del ord">
        <pc:chgData name="Alvarez, Becky" userId="S::bealvarez@deloitte.com::188f73ca-c6f1-4f7f-be0c-e80beec6d4d1" providerId="AD" clId="Web-{EEAD50ED-FC84-4D3A-A07E-8FD1987BCC2A}" dt="2023-02-13T17:44:57.923" v="446"/>
        <pc:sldMkLst>
          <pc:docMk/>
          <pc:sldMk cId="312913088" sldId="2147471032"/>
        </pc:sldMkLst>
        <pc:spChg chg="del">
          <ac:chgData name="Alvarez, Becky" userId="S::bealvarez@deloitte.com::188f73ca-c6f1-4f7f-be0c-e80beec6d4d1" providerId="AD" clId="Web-{EEAD50ED-FC84-4D3A-A07E-8FD1987BCC2A}" dt="2023-02-13T17:21:57.052" v="302"/>
          <ac:spMkLst>
            <pc:docMk/>
            <pc:sldMk cId="312913088" sldId="2147471032"/>
            <ac:spMk id="45" creationId="{32526564-8F9D-455A-A18C-FDDF6A9083F7}"/>
          </ac:spMkLst>
        </pc:spChg>
        <pc:spChg chg="mod">
          <ac:chgData name="Alvarez, Becky" userId="S::bealvarez@deloitte.com::188f73ca-c6f1-4f7f-be0c-e80beec6d4d1" providerId="AD" clId="Web-{EEAD50ED-FC84-4D3A-A07E-8FD1987BCC2A}" dt="2023-02-13T17:22:52.508" v="313" actId="14100"/>
          <ac:spMkLst>
            <pc:docMk/>
            <pc:sldMk cId="312913088" sldId="2147471032"/>
            <ac:spMk id="47" creationId="{9AFD2F22-8EF9-45ED-B1B0-A8F0F24DB915}"/>
          </ac:spMkLst>
        </pc:spChg>
        <pc:spChg chg="mod topLvl">
          <ac:chgData name="Alvarez, Becky" userId="S::bealvarez@deloitte.com::188f73ca-c6f1-4f7f-be0c-e80beec6d4d1" providerId="AD" clId="Web-{EEAD50ED-FC84-4D3A-A07E-8FD1987BCC2A}" dt="2023-02-13T17:42:40.949" v="444" actId="1076"/>
          <ac:spMkLst>
            <pc:docMk/>
            <pc:sldMk cId="312913088" sldId="2147471032"/>
            <ac:spMk id="49" creationId="{8ABC991D-5A21-4234-9B35-DB2176084664}"/>
          </ac:spMkLst>
        </pc:spChg>
        <pc:spChg chg="mod topLvl">
          <ac:chgData name="Alvarez, Becky" userId="S::bealvarez@deloitte.com::188f73ca-c6f1-4f7f-be0c-e80beec6d4d1" providerId="AD" clId="Web-{EEAD50ED-FC84-4D3A-A07E-8FD1987BCC2A}" dt="2023-02-13T17:42:40.949" v="443" actId="1076"/>
          <ac:spMkLst>
            <pc:docMk/>
            <pc:sldMk cId="312913088" sldId="2147471032"/>
            <ac:spMk id="50" creationId="{20730F63-33AE-47B6-8498-9B74F1437BF5}"/>
          </ac:spMkLst>
        </pc:spChg>
        <pc:spChg chg="mod topLvl">
          <ac:chgData name="Alvarez, Becky" userId="S::bealvarez@deloitte.com::188f73ca-c6f1-4f7f-be0c-e80beec6d4d1" providerId="AD" clId="Web-{EEAD50ED-FC84-4D3A-A07E-8FD1987BCC2A}" dt="2023-02-13T17:42:40.933" v="442" actId="1076"/>
          <ac:spMkLst>
            <pc:docMk/>
            <pc:sldMk cId="312913088" sldId="2147471032"/>
            <ac:spMk id="51" creationId="{6855F0C5-57C4-4399-99F4-ABB796FEDFFD}"/>
          </ac:spMkLst>
        </pc:spChg>
        <pc:spChg chg="mod topLvl">
          <ac:chgData name="Alvarez, Becky" userId="S::bealvarez@deloitte.com::188f73ca-c6f1-4f7f-be0c-e80beec6d4d1" providerId="AD" clId="Web-{EEAD50ED-FC84-4D3A-A07E-8FD1987BCC2A}" dt="2023-02-13T17:42:40.933" v="441" actId="1076"/>
          <ac:spMkLst>
            <pc:docMk/>
            <pc:sldMk cId="312913088" sldId="2147471032"/>
            <ac:spMk id="52" creationId="{5390EC49-1D67-47F6-AC6D-4C0F03422F70}"/>
          </ac:spMkLst>
        </pc:spChg>
        <pc:spChg chg="mod topLvl">
          <ac:chgData name="Alvarez, Becky" userId="S::bealvarez@deloitte.com::188f73ca-c6f1-4f7f-be0c-e80beec6d4d1" providerId="AD" clId="Web-{EEAD50ED-FC84-4D3A-A07E-8FD1987BCC2A}" dt="2023-02-13T17:42:40.933" v="440" actId="1076"/>
          <ac:spMkLst>
            <pc:docMk/>
            <pc:sldMk cId="312913088" sldId="2147471032"/>
            <ac:spMk id="53" creationId="{0B124AD4-F0B4-4474-BE2C-D5C4EA46677F}"/>
          </ac:spMkLst>
        </pc:spChg>
        <pc:spChg chg="mod topLvl">
          <ac:chgData name="Alvarez, Becky" userId="S::bealvarez@deloitte.com::188f73ca-c6f1-4f7f-be0c-e80beec6d4d1" providerId="AD" clId="Web-{EEAD50ED-FC84-4D3A-A07E-8FD1987BCC2A}" dt="2023-02-13T17:42:40.933" v="439" actId="1076"/>
          <ac:spMkLst>
            <pc:docMk/>
            <pc:sldMk cId="312913088" sldId="2147471032"/>
            <ac:spMk id="54" creationId="{64188293-7E50-4578-8341-E44899D7ABD5}"/>
          </ac:spMkLst>
        </pc:spChg>
        <pc:spChg chg="mod topLvl">
          <ac:chgData name="Alvarez, Becky" userId="S::bealvarez@deloitte.com::188f73ca-c6f1-4f7f-be0c-e80beec6d4d1" providerId="AD" clId="Web-{EEAD50ED-FC84-4D3A-A07E-8FD1987BCC2A}" dt="2023-02-13T17:42:40.933" v="438" actId="1076"/>
          <ac:spMkLst>
            <pc:docMk/>
            <pc:sldMk cId="312913088" sldId="2147471032"/>
            <ac:spMk id="55" creationId="{DEBF6DF4-5907-4862-9BCA-6B75BCE21F3C}"/>
          </ac:spMkLst>
        </pc:spChg>
        <pc:spChg chg="mod topLvl">
          <ac:chgData name="Alvarez, Becky" userId="S::bealvarez@deloitte.com::188f73ca-c6f1-4f7f-be0c-e80beec6d4d1" providerId="AD" clId="Web-{EEAD50ED-FC84-4D3A-A07E-8FD1987BCC2A}" dt="2023-02-13T17:42:40.933" v="427" actId="1076"/>
          <ac:spMkLst>
            <pc:docMk/>
            <pc:sldMk cId="312913088" sldId="2147471032"/>
            <ac:spMk id="66" creationId="{CAFFDEC8-07FD-4C14-904D-795113229E8E}"/>
          </ac:spMkLst>
        </pc:spChg>
        <pc:spChg chg="mod topLvl">
          <ac:chgData name="Alvarez, Becky" userId="S::bealvarez@deloitte.com::188f73ca-c6f1-4f7f-be0c-e80beec6d4d1" providerId="AD" clId="Web-{EEAD50ED-FC84-4D3A-A07E-8FD1987BCC2A}" dt="2023-02-13T17:42:40.933" v="426" actId="1076"/>
          <ac:spMkLst>
            <pc:docMk/>
            <pc:sldMk cId="312913088" sldId="2147471032"/>
            <ac:spMk id="68" creationId="{9419ED61-0634-4DBB-BA41-ACBA9E93F586}"/>
          </ac:spMkLst>
        </pc:spChg>
        <pc:grpChg chg="add del">
          <ac:chgData name="Alvarez, Becky" userId="S::bealvarez@deloitte.com::188f73ca-c6f1-4f7f-be0c-e80beec6d4d1" providerId="AD" clId="Web-{EEAD50ED-FC84-4D3A-A07E-8FD1987BCC2A}" dt="2023-02-13T17:42:38.011" v="421"/>
          <ac:grpSpMkLst>
            <pc:docMk/>
            <pc:sldMk cId="312913088" sldId="2147471032"/>
            <ac:grpSpMk id="3" creationId="{09AEFB53-35B5-9365-CCBC-589A6056D84E}"/>
          </ac:grpSpMkLst>
        </pc:grpChg>
        <pc:grpChg chg="del mod ord">
          <ac:chgData name="Alvarez, Becky" userId="S::bealvarez@deloitte.com::188f73ca-c6f1-4f7f-be0c-e80beec6d4d1" providerId="AD" clId="Web-{EEAD50ED-FC84-4D3A-A07E-8FD1987BCC2A}" dt="2023-02-13T17:41:11.101" v="393"/>
          <ac:grpSpMkLst>
            <pc:docMk/>
            <pc:sldMk cId="312913088" sldId="2147471032"/>
            <ac:grpSpMk id="48" creationId="{32E0B5AE-8684-454A-8023-A577F85182E6}"/>
          </ac:grpSpMkLst>
        </pc:grpChg>
        <pc:cxnChg chg="mod topLvl">
          <ac:chgData name="Alvarez, Becky" userId="S::bealvarez@deloitte.com::188f73ca-c6f1-4f7f-be0c-e80beec6d4d1" providerId="AD" clId="Web-{EEAD50ED-FC84-4D3A-A07E-8FD1987BCC2A}" dt="2023-02-13T17:42:40.949" v="444" actId="1076"/>
          <ac:cxnSpMkLst>
            <pc:docMk/>
            <pc:sldMk cId="312913088" sldId="2147471032"/>
            <ac:cxnSpMk id="56" creationId="{1E42851F-1ECF-4199-853E-63A7831482EA}"/>
          </ac:cxnSpMkLst>
        </pc:cxnChg>
        <pc:cxnChg chg="mod topLvl">
          <ac:chgData name="Alvarez, Becky" userId="S::bealvarez@deloitte.com::188f73ca-c6f1-4f7f-be0c-e80beec6d4d1" providerId="AD" clId="Web-{EEAD50ED-FC84-4D3A-A07E-8FD1987BCC2A}" dt="2023-02-13T17:42:40.949" v="444" actId="1076"/>
          <ac:cxnSpMkLst>
            <pc:docMk/>
            <pc:sldMk cId="312913088" sldId="2147471032"/>
            <ac:cxnSpMk id="57" creationId="{4DFAACCC-28EE-4F3B-8C1C-322C8BA7018E}"/>
          </ac:cxnSpMkLst>
        </pc:cxnChg>
        <pc:cxnChg chg="mod topLvl">
          <ac:chgData name="Alvarez, Becky" userId="S::bealvarez@deloitte.com::188f73ca-c6f1-4f7f-be0c-e80beec6d4d1" providerId="AD" clId="Web-{EEAD50ED-FC84-4D3A-A07E-8FD1987BCC2A}" dt="2023-02-13T17:42:40.933" v="435" actId="1076"/>
          <ac:cxnSpMkLst>
            <pc:docMk/>
            <pc:sldMk cId="312913088" sldId="2147471032"/>
            <ac:cxnSpMk id="58" creationId="{4EC7F6AD-98D7-4D5C-976B-45F2B478B966}"/>
          </ac:cxnSpMkLst>
        </pc:cxnChg>
        <pc:cxnChg chg="mod topLvl">
          <ac:chgData name="Alvarez, Becky" userId="S::bealvarez@deloitte.com::188f73ca-c6f1-4f7f-be0c-e80beec6d4d1" providerId="AD" clId="Web-{EEAD50ED-FC84-4D3A-A07E-8FD1987BCC2A}" dt="2023-02-13T17:42:40.949" v="443" actId="1076"/>
          <ac:cxnSpMkLst>
            <pc:docMk/>
            <pc:sldMk cId="312913088" sldId="2147471032"/>
            <ac:cxnSpMk id="59" creationId="{93127B4E-9B44-4109-A60E-3680F328B4FC}"/>
          </ac:cxnSpMkLst>
        </pc:cxnChg>
        <pc:cxnChg chg="mod topLvl">
          <ac:chgData name="Alvarez, Becky" userId="S::bealvarez@deloitte.com::188f73ca-c6f1-4f7f-be0c-e80beec6d4d1" providerId="AD" clId="Web-{EEAD50ED-FC84-4D3A-A07E-8FD1987BCC2A}" dt="2023-02-13T17:42:40.949" v="443" actId="1076"/>
          <ac:cxnSpMkLst>
            <pc:docMk/>
            <pc:sldMk cId="312913088" sldId="2147471032"/>
            <ac:cxnSpMk id="60" creationId="{38A0C595-78DB-41D3-BC85-D407222BAFC3}"/>
          </ac:cxnSpMkLst>
        </pc:cxnChg>
        <pc:cxnChg chg="mod topLvl">
          <ac:chgData name="Alvarez, Becky" userId="S::bealvarez@deloitte.com::188f73ca-c6f1-4f7f-be0c-e80beec6d4d1" providerId="AD" clId="Web-{EEAD50ED-FC84-4D3A-A07E-8FD1987BCC2A}" dt="2023-02-13T17:42:40.933" v="442" actId="1076"/>
          <ac:cxnSpMkLst>
            <pc:docMk/>
            <pc:sldMk cId="312913088" sldId="2147471032"/>
            <ac:cxnSpMk id="61" creationId="{7B5061DC-38C9-4F5D-9BC3-64D4A04EE000}"/>
          </ac:cxnSpMkLst>
        </pc:cxnChg>
        <pc:cxnChg chg="mod topLvl">
          <ac:chgData name="Alvarez, Becky" userId="S::bealvarez@deloitte.com::188f73ca-c6f1-4f7f-be0c-e80beec6d4d1" providerId="AD" clId="Web-{EEAD50ED-FC84-4D3A-A07E-8FD1987BCC2A}" dt="2023-02-13T17:42:40.933" v="441" actId="1076"/>
          <ac:cxnSpMkLst>
            <pc:docMk/>
            <pc:sldMk cId="312913088" sldId="2147471032"/>
            <ac:cxnSpMk id="62" creationId="{143AB058-9C70-4E04-8D1C-FA89ACDE35D7}"/>
          </ac:cxnSpMkLst>
        </pc:cxnChg>
        <pc:cxnChg chg="mod topLvl">
          <ac:chgData name="Alvarez, Becky" userId="S::bealvarez@deloitte.com::188f73ca-c6f1-4f7f-be0c-e80beec6d4d1" providerId="AD" clId="Web-{EEAD50ED-FC84-4D3A-A07E-8FD1987BCC2A}" dt="2023-02-13T17:42:40.933" v="440" actId="1076"/>
          <ac:cxnSpMkLst>
            <pc:docMk/>
            <pc:sldMk cId="312913088" sldId="2147471032"/>
            <ac:cxnSpMk id="63" creationId="{C5B71CE9-00E4-4CEA-9026-6CD9B744F03F}"/>
          </ac:cxnSpMkLst>
        </pc:cxnChg>
        <pc:cxnChg chg="mod topLvl">
          <ac:chgData name="Alvarez, Becky" userId="S::bealvarez@deloitte.com::188f73ca-c6f1-4f7f-be0c-e80beec6d4d1" providerId="AD" clId="Web-{EEAD50ED-FC84-4D3A-A07E-8FD1987BCC2A}" dt="2023-02-13T17:42:40.933" v="439" actId="1076"/>
          <ac:cxnSpMkLst>
            <pc:docMk/>
            <pc:sldMk cId="312913088" sldId="2147471032"/>
            <ac:cxnSpMk id="64" creationId="{DF14F5F7-701E-4AA7-B519-F7E4199F0B91}"/>
          </ac:cxnSpMkLst>
        </pc:cxnChg>
        <pc:cxnChg chg="mod topLvl">
          <ac:chgData name="Alvarez, Becky" userId="S::bealvarez@deloitte.com::188f73ca-c6f1-4f7f-be0c-e80beec6d4d1" providerId="AD" clId="Web-{EEAD50ED-FC84-4D3A-A07E-8FD1987BCC2A}" dt="2023-02-13T17:42:40.949" v="444" actId="1076"/>
          <ac:cxnSpMkLst>
            <pc:docMk/>
            <pc:sldMk cId="312913088" sldId="2147471032"/>
            <ac:cxnSpMk id="65" creationId="{C0677D2D-1EB4-48ED-8D06-AF34E2E468DE}"/>
          </ac:cxnSpMkLst>
        </pc:cxnChg>
        <pc:cxnChg chg="mod ord topLvl">
          <ac:chgData name="Alvarez, Becky" userId="S::bealvarez@deloitte.com::188f73ca-c6f1-4f7f-be0c-e80beec6d4d1" providerId="AD" clId="Web-{EEAD50ED-FC84-4D3A-A07E-8FD1987BCC2A}" dt="2023-02-13T17:42:40.949" v="445" actId="1076"/>
          <ac:cxnSpMkLst>
            <pc:docMk/>
            <pc:sldMk cId="312913088" sldId="2147471032"/>
            <ac:cxnSpMk id="67" creationId="{44B8612C-26E2-4FBB-807D-44966D5711E0}"/>
          </ac:cxnSpMkLst>
        </pc:cxnChg>
        <pc:cxnChg chg="mod topLvl">
          <ac:chgData name="Alvarez, Becky" userId="S::bealvarez@deloitte.com::188f73ca-c6f1-4f7f-be0c-e80beec6d4d1" providerId="AD" clId="Web-{EEAD50ED-FC84-4D3A-A07E-8FD1987BCC2A}" dt="2023-02-13T17:42:40.949" v="444" actId="1076"/>
          <ac:cxnSpMkLst>
            <pc:docMk/>
            <pc:sldMk cId="312913088" sldId="2147471032"/>
            <ac:cxnSpMk id="69" creationId="{CCDF584E-3C22-4B0E-B0F8-402AB0E0F79A}"/>
          </ac:cxnSpMkLst>
        </pc:cxnChg>
        <pc:cxnChg chg="mod topLvl">
          <ac:chgData name="Alvarez, Becky" userId="S::bealvarez@deloitte.com::188f73ca-c6f1-4f7f-be0c-e80beec6d4d1" providerId="AD" clId="Web-{EEAD50ED-FC84-4D3A-A07E-8FD1987BCC2A}" dt="2023-02-13T17:42:40.933" v="441" actId="1076"/>
          <ac:cxnSpMkLst>
            <pc:docMk/>
            <pc:sldMk cId="312913088" sldId="2147471032"/>
            <ac:cxnSpMk id="70" creationId="{4D02B3EE-8EF5-4C7B-941A-1E87176D1E2A}"/>
          </ac:cxnSpMkLst>
        </pc:cxnChg>
        <pc:cxnChg chg="mod ord topLvl">
          <ac:chgData name="Alvarez, Becky" userId="S::bealvarez@deloitte.com::188f73ca-c6f1-4f7f-be0c-e80beec6d4d1" providerId="AD" clId="Web-{EEAD50ED-FC84-4D3A-A07E-8FD1987BCC2A}" dt="2023-02-13T17:42:40.933" v="422" actId="1076"/>
          <ac:cxnSpMkLst>
            <pc:docMk/>
            <pc:sldMk cId="312913088" sldId="2147471032"/>
            <ac:cxnSpMk id="71" creationId="{50AC9BF2-BC06-4C40-826C-1BD7C4000FAB}"/>
          </ac:cxnSpMkLst>
        </pc:cxnChg>
        <pc:cxnChg chg="mod topLvl">
          <ac:chgData name="Alvarez, Becky" userId="S::bealvarez@deloitte.com::188f73ca-c6f1-4f7f-be0c-e80beec6d4d1" providerId="AD" clId="Web-{EEAD50ED-FC84-4D3A-A07E-8FD1987BCC2A}" dt="2023-02-13T17:42:40.933" v="440" actId="1076"/>
          <ac:cxnSpMkLst>
            <pc:docMk/>
            <pc:sldMk cId="312913088" sldId="2147471032"/>
            <ac:cxnSpMk id="72" creationId="{52A019D8-33B5-402C-9ACD-C6C3D2408524}"/>
          </ac:cxnSpMkLst>
        </pc:cxnChg>
      </pc:sldChg>
      <pc:sldChg chg="modSp">
        <pc:chgData name="Alvarez, Becky" userId="S::bealvarez@deloitte.com::188f73ca-c6f1-4f7f-be0c-e80beec6d4d1" providerId="AD" clId="Web-{EEAD50ED-FC84-4D3A-A07E-8FD1987BCC2A}" dt="2023-02-13T19:22:46.508" v="633" actId="20577"/>
        <pc:sldMkLst>
          <pc:docMk/>
          <pc:sldMk cId="1301746540" sldId="2147471048"/>
        </pc:sldMkLst>
        <pc:spChg chg="mod">
          <ac:chgData name="Alvarez, Becky" userId="S::bealvarez@deloitte.com::188f73ca-c6f1-4f7f-be0c-e80beec6d4d1" providerId="AD" clId="Web-{EEAD50ED-FC84-4D3A-A07E-8FD1987BCC2A}" dt="2023-02-13T16:30:42.140" v="259" actId="20577"/>
          <ac:spMkLst>
            <pc:docMk/>
            <pc:sldMk cId="1301746540" sldId="2147471048"/>
            <ac:spMk id="3" creationId="{0ACDAAA1-58A0-4A1F-AB0C-44C5DAA47DFF}"/>
          </ac:spMkLst>
        </pc:spChg>
        <pc:spChg chg="mod">
          <ac:chgData name="Alvarez, Becky" userId="S::bealvarez@deloitte.com::188f73ca-c6f1-4f7f-be0c-e80beec6d4d1" providerId="AD" clId="Web-{EEAD50ED-FC84-4D3A-A07E-8FD1987BCC2A}" dt="2023-02-13T19:22:46.508" v="633" actId="20577"/>
          <ac:spMkLst>
            <pc:docMk/>
            <pc:sldMk cId="1301746540" sldId="2147471048"/>
            <ac:spMk id="17" creationId="{4BE8BCB2-C327-4FE7-9CAE-5BD227C14160}"/>
          </ac:spMkLst>
        </pc:spChg>
      </pc:sldChg>
      <pc:sldChg chg="modSp modCm">
        <pc:chgData name="Alvarez, Becky" userId="S::bealvarez@deloitte.com::188f73ca-c6f1-4f7f-be0c-e80beec6d4d1" providerId="AD" clId="Web-{EEAD50ED-FC84-4D3A-A07E-8FD1987BCC2A}" dt="2023-02-13T16:28:02.446" v="254"/>
        <pc:sldMkLst>
          <pc:docMk/>
          <pc:sldMk cId="3571490006" sldId="2147471052"/>
        </pc:sldMkLst>
        <pc:grpChg chg="mod">
          <ac:chgData name="Alvarez, Becky" userId="S::bealvarez@deloitte.com::188f73ca-c6f1-4f7f-be0c-e80beec6d4d1" providerId="AD" clId="Web-{EEAD50ED-FC84-4D3A-A07E-8FD1987BCC2A}" dt="2023-02-13T15:55:21.332" v="0" actId="1076"/>
          <ac:grpSpMkLst>
            <pc:docMk/>
            <pc:sldMk cId="3571490006" sldId="2147471052"/>
            <ac:grpSpMk id="14" creationId="{E77505E1-8DB1-4560-A71E-94647B40C48D}"/>
          </ac:grpSpMkLst>
        </pc:grpChg>
        <pc:graphicFrameChg chg="mod modGraphic">
          <ac:chgData name="Alvarez, Becky" userId="S::bealvarez@deloitte.com::188f73ca-c6f1-4f7f-be0c-e80beec6d4d1" providerId="AD" clId="Web-{EEAD50ED-FC84-4D3A-A07E-8FD1987BCC2A}" dt="2023-02-13T16:28:02.446" v="254"/>
          <ac:graphicFrameMkLst>
            <pc:docMk/>
            <pc:sldMk cId="3571490006" sldId="2147471052"/>
            <ac:graphicFrameMk id="16" creationId="{227C20C8-57CF-09B7-FBFC-303CD58ABA38}"/>
          </ac:graphicFrameMkLst>
        </pc:graphicFrameChg>
        <pc:graphicFrameChg chg="mod modGraphic">
          <ac:chgData name="Alvarez, Becky" userId="S::bealvarez@deloitte.com::188f73ca-c6f1-4f7f-be0c-e80beec6d4d1" providerId="AD" clId="Web-{EEAD50ED-FC84-4D3A-A07E-8FD1987BCC2A}" dt="2023-02-13T16:19:03.783" v="13"/>
          <ac:graphicFrameMkLst>
            <pc:docMk/>
            <pc:sldMk cId="3571490006" sldId="2147471052"/>
            <ac:graphicFrameMk id="17" creationId="{00000000-0000-0000-0000-000000000000}"/>
          </ac:graphicFrameMkLst>
        </pc:graphicFrameChg>
      </pc:sldChg>
      <pc:sldChg chg="modSp">
        <pc:chgData name="Alvarez, Becky" userId="S::bealvarez@deloitte.com::188f73ca-c6f1-4f7f-be0c-e80beec6d4d1" providerId="AD" clId="Web-{EEAD50ED-FC84-4D3A-A07E-8FD1987BCC2A}" dt="2023-02-13T16:22:52.433" v="111" actId="20577"/>
        <pc:sldMkLst>
          <pc:docMk/>
          <pc:sldMk cId="2949949596" sldId="2147471053"/>
        </pc:sldMkLst>
        <pc:spChg chg="mod">
          <ac:chgData name="Alvarez, Becky" userId="S::bealvarez@deloitte.com::188f73ca-c6f1-4f7f-be0c-e80beec6d4d1" providerId="AD" clId="Web-{EEAD50ED-FC84-4D3A-A07E-8FD1987BCC2A}" dt="2023-02-13T16:03:26.540" v="2" actId="20577"/>
          <ac:spMkLst>
            <pc:docMk/>
            <pc:sldMk cId="2949949596" sldId="2147471053"/>
            <ac:spMk id="2" creationId="{D4D33B79-B49F-F810-6C69-FC4BEAAB5699}"/>
          </ac:spMkLst>
        </pc:spChg>
        <pc:spChg chg="mod">
          <ac:chgData name="Alvarez, Becky" userId="S::bealvarez@deloitte.com::188f73ca-c6f1-4f7f-be0c-e80beec6d4d1" providerId="AD" clId="Web-{EEAD50ED-FC84-4D3A-A07E-8FD1987BCC2A}" dt="2023-02-13T16:21:35.242" v="96" actId="20577"/>
          <ac:spMkLst>
            <pc:docMk/>
            <pc:sldMk cId="2949949596" sldId="2147471053"/>
            <ac:spMk id="5" creationId="{3C25657C-19D4-4B93-B96C-DACEDD67D364}"/>
          </ac:spMkLst>
        </pc:spChg>
        <pc:spChg chg="mod">
          <ac:chgData name="Alvarez, Becky" userId="S::bealvarez@deloitte.com::188f73ca-c6f1-4f7f-be0c-e80beec6d4d1" providerId="AD" clId="Web-{EEAD50ED-FC84-4D3A-A07E-8FD1987BCC2A}" dt="2023-02-13T16:22:52.433" v="111" actId="20577"/>
          <ac:spMkLst>
            <pc:docMk/>
            <pc:sldMk cId="2949949596" sldId="2147471053"/>
            <ac:spMk id="18" creationId="{C3D56775-2F64-4F19-BCF5-D8601824F329}"/>
          </ac:spMkLst>
        </pc:spChg>
        <pc:grpChg chg="mod">
          <ac:chgData name="Alvarez, Becky" userId="S::bealvarez@deloitte.com::188f73ca-c6f1-4f7f-be0c-e80beec6d4d1" providerId="AD" clId="Web-{EEAD50ED-FC84-4D3A-A07E-8FD1987BCC2A}" dt="2023-02-13T16:21:06.960" v="69" actId="1076"/>
          <ac:grpSpMkLst>
            <pc:docMk/>
            <pc:sldMk cId="2949949596" sldId="2147471053"/>
            <ac:grpSpMk id="4" creationId="{0816173C-BE67-4939-800B-8500D1B2E5A0}"/>
          </ac:grpSpMkLst>
        </pc:grpChg>
        <pc:graphicFrameChg chg="mod modGraphic">
          <ac:chgData name="Alvarez, Becky" userId="S::bealvarez@deloitte.com::188f73ca-c6f1-4f7f-be0c-e80beec6d4d1" providerId="AD" clId="Web-{EEAD50ED-FC84-4D3A-A07E-8FD1987BCC2A}" dt="2023-02-13T16:22:25.260" v="108"/>
          <ac:graphicFrameMkLst>
            <pc:docMk/>
            <pc:sldMk cId="2949949596" sldId="2147471053"/>
            <ac:graphicFrameMk id="17" creationId="{00000000-0000-0000-0000-000000000000}"/>
          </ac:graphicFrameMkLst>
        </pc:graphicFrameChg>
      </pc:sldChg>
      <pc:sldChg chg="modSp">
        <pc:chgData name="Alvarez, Becky" userId="S::bealvarez@deloitte.com::188f73ca-c6f1-4f7f-be0c-e80beec6d4d1" providerId="AD" clId="Web-{EEAD50ED-FC84-4D3A-A07E-8FD1987BCC2A}" dt="2023-02-13T16:37:00.953" v="290"/>
        <pc:sldMkLst>
          <pc:docMk/>
          <pc:sldMk cId="2071297880" sldId="2147471060"/>
        </pc:sldMkLst>
        <pc:graphicFrameChg chg="mod modGraphic">
          <ac:chgData name="Alvarez, Becky" userId="S::bealvarez@deloitte.com::188f73ca-c6f1-4f7f-be0c-e80beec6d4d1" providerId="AD" clId="Web-{EEAD50ED-FC84-4D3A-A07E-8FD1987BCC2A}" dt="2023-02-13T16:37:00.953" v="290"/>
          <ac:graphicFrameMkLst>
            <pc:docMk/>
            <pc:sldMk cId="2071297880" sldId="2147471060"/>
            <ac:graphicFrameMk id="17" creationId="{00000000-0000-0000-0000-000000000000}"/>
          </ac:graphicFrameMkLst>
        </pc:graphicFrameChg>
      </pc:sldChg>
      <pc:sldChg chg="addSp delSp modSp addCm delCm">
        <pc:chgData name="Alvarez, Becky" userId="S::bealvarez@deloitte.com::188f73ca-c6f1-4f7f-be0c-e80beec6d4d1" providerId="AD" clId="Web-{EEAD50ED-FC84-4D3A-A07E-8FD1987BCC2A}" dt="2023-02-13T17:28:29.053" v="370"/>
        <pc:sldMkLst>
          <pc:docMk/>
          <pc:sldMk cId="1965610247" sldId="2147471061"/>
        </pc:sldMkLst>
        <pc:graphicFrameChg chg="mod modGraphic">
          <ac:chgData name="Alvarez, Becky" userId="S::bealvarez@deloitte.com::188f73ca-c6f1-4f7f-be0c-e80beec6d4d1" providerId="AD" clId="Web-{EEAD50ED-FC84-4D3A-A07E-8FD1987BCC2A}" dt="2023-02-13T17:28:29.053" v="370"/>
          <ac:graphicFrameMkLst>
            <pc:docMk/>
            <pc:sldMk cId="1965610247" sldId="2147471061"/>
            <ac:graphicFrameMk id="5" creationId="{AEC53D0C-E55B-4557-B8B8-712E42BEE1D0}"/>
          </ac:graphicFrameMkLst>
        </pc:graphicFrameChg>
        <pc:graphicFrameChg chg="del">
          <ac:chgData name="Alvarez, Becky" userId="S::bealvarez@deloitte.com::188f73ca-c6f1-4f7f-be0c-e80beec6d4d1" providerId="AD" clId="Web-{EEAD50ED-FC84-4D3A-A07E-8FD1987BCC2A}" dt="2023-02-13T17:27:46.817" v="364"/>
          <ac:graphicFrameMkLst>
            <pc:docMk/>
            <pc:sldMk cId="1965610247" sldId="2147471061"/>
            <ac:graphicFrameMk id="6" creationId="{A13D13A5-322C-43EC-A358-9E8CFE78C589}"/>
          </ac:graphicFrameMkLst>
        </pc:graphicFrameChg>
        <pc:graphicFrameChg chg="del">
          <ac:chgData name="Alvarez, Becky" userId="S::bealvarez@deloitte.com::188f73ca-c6f1-4f7f-be0c-e80beec6d4d1" providerId="AD" clId="Web-{EEAD50ED-FC84-4D3A-A07E-8FD1987BCC2A}" dt="2023-02-13T17:27:38.895" v="361"/>
          <ac:graphicFrameMkLst>
            <pc:docMk/>
            <pc:sldMk cId="1965610247" sldId="2147471061"/>
            <ac:graphicFrameMk id="7" creationId="{A7A47A99-2A72-4A31-BF23-3FC91D5DF079}"/>
          </ac:graphicFrameMkLst>
        </pc:graphicFrameChg>
        <pc:graphicFrameChg chg="add del">
          <ac:chgData name="Alvarez, Becky" userId="S::bealvarez@deloitte.com::188f73ca-c6f1-4f7f-be0c-e80beec6d4d1" providerId="AD" clId="Web-{EEAD50ED-FC84-4D3A-A07E-8FD1987BCC2A}" dt="2023-02-13T17:27:35.785" v="360"/>
          <ac:graphicFrameMkLst>
            <pc:docMk/>
            <pc:sldMk cId="1965610247" sldId="2147471061"/>
            <ac:graphicFrameMk id="8" creationId="{6E85FEF1-BD08-4ECB-89E2-82330EE282A7}"/>
          </ac:graphicFrameMkLst>
        </pc:graphicFrameChg>
        <pc:graphicFrameChg chg="del">
          <ac:chgData name="Alvarez, Becky" userId="S::bealvarez@deloitte.com::188f73ca-c6f1-4f7f-be0c-e80beec6d4d1" providerId="AD" clId="Web-{EEAD50ED-FC84-4D3A-A07E-8FD1987BCC2A}" dt="2023-02-13T17:27:49.567" v="365"/>
          <ac:graphicFrameMkLst>
            <pc:docMk/>
            <pc:sldMk cId="1965610247" sldId="2147471061"/>
            <ac:graphicFrameMk id="9" creationId="{8691ABE3-32EE-4231-ACB0-C6A4263B0DAC}"/>
          </ac:graphicFrameMkLst>
        </pc:graphicFrameChg>
        <pc:graphicFrameChg chg="del">
          <ac:chgData name="Alvarez, Becky" userId="S::bealvarez@deloitte.com::188f73ca-c6f1-4f7f-be0c-e80beec6d4d1" providerId="AD" clId="Web-{EEAD50ED-FC84-4D3A-A07E-8FD1987BCC2A}" dt="2023-02-13T17:27:44.458" v="363"/>
          <ac:graphicFrameMkLst>
            <pc:docMk/>
            <pc:sldMk cId="1965610247" sldId="2147471061"/>
            <ac:graphicFrameMk id="10" creationId="{42A9431D-2068-47AC-8C7E-C7823979BF67}"/>
          </ac:graphicFrameMkLst>
        </pc:graphicFrameChg>
        <pc:graphicFrameChg chg="del">
          <ac:chgData name="Alvarez, Becky" userId="S::bealvarez@deloitte.com::188f73ca-c6f1-4f7f-be0c-e80beec6d4d1" providerId="AD" clId="Web-{EEAD50ED-FC84-4D3A-A07E-8FD1987BCC2A}" dt="2023-02-13T17:27:52.536" v="366"/>
          <ac:graphicFrameMkLst>
            <pc:docMk/>
            <pc:sldMk cId="1965610247" sldId="2147471061"/>
            <ac:graphicFrameMk id="11" creationId="{9A86C6C9-1066-42F8-9EE3-19DD9A8A06F2}"/>
          </ac:graphicFrameMkLst>
        </pc:graphicFrameChg>
        <pc:graphicFrameChg chg="del">
          <ac:chgData name="Alvarez, Becky" userId="S::bealvarez@deloitte.com::188f73ca-c6f1-4f7f-be0c-e80beec6d4d1" providerId="AD" clId="Web-{EEAD50ED-FC84-4D3A-A07E-8FD1987BCC2A}" dt="2023-02-13T17:27:42.020" v="362"/>
          <ac:graphicFrameMkLst>
            <pc:docMk/>
            <pc:sldMk cId="1965610247" sldId="2147471061"/>
            <ac:graphicFrameMk id="12" creationId="{522E94D7-301F-4D7B-921B-B4AA56964996}"/>
          </ac:graphicFrameMkLst>
        </pc:graphicFrameChg>
      </pc:sldChg>
      <pc:sldChg chg="delSp modSp new mod modClrScheme chgLayout">
        <pc:chgData name="Alvarez, Becky" userId="S::bealvarez@deloitte.com::188f73ca-c6f1-4f7f-be0c-e80beec6d4d1" providerId="AD" clId="Web-{EEAD50ED-FC84-4D3A-A07E-8FD1987BCC2A}" dt="2023-02-13T17:15:21.379" v="299" actId="14100"/>
        <pc:sldMkLst>
          <pc:docMk/>
          <pc:sldMk cId="4128911945" sldId="2147471062"/>
        </pc:sldMkLst>
        <pc:spChg chg="mod ord">
          <ac:chgData name="Alvarez, Becky" userId="S::bealvarez@deloitte.com::188f73ca-c6f1-4f7f-be0c-e80beec6d4d1" providerId="AD" clId="Web-{EEAD50ED-FC84-4D3A-A07E-8FD1987BCC2A}" dt="2023-02-13T17:15:21.379" v="299" actId="14100"/>
          <ac:spMkLst>
            <pc:docMk/>
            <pc:sldMk cId="4128911945" sldId="2147471062"/>
            <ac:spMk id="2" creationId="{DC43894B-EF79-9163-A653-3A70FA86198A}"/>
          </ac:spMkLst>
        </pc:spChg>
        <pc:spChg chg="del">
          <ac:chgData name="Alvarez, Becky" userId="S::bealvarez@deloitte.com::188f73ca-c6f1-4f7f-be0c-e80beec6d4d1" providerId="AD" clId="Web-{EEAD50ED-FC84-4D3A-A07E-8FD1987BCC2A}" dt="2023-02-13T16:24:16.937" v="113"/>
          <ac:spMkLst>
            <pc:docMk/>
            <pc:sldMk cId="4128911945" sldId="2147471062"/>
            <ac:spMk id="3" creationId="{8272DF3B-69F0-227F-9A72-BE4DE4F73C7A}"/>
          </ac:spMkLst>
        </pc:spChg>
        <pc:spChg chg="del">
          <ac:chgData name="Alvarez, Becky" userId="S::bealvarez@deloitte.com::188f73ca-c6f1-4f7f-be0c-e80beec6d4d1" providerId="AD" clId="Web-{EEAD50ED-FC84-4D3A-A07E-8FD1987BCC2A}" dt="2023-02-13T16:24:16.937" v="113"/>
          <ac:spMkLst>
            <pc:docMk/>
            <pc:sldMk cId="4128911945" sldId="2147471062"/>
            <ac:spMk id="4" creationId="{2947EB70-0A70-6CA3-19AA-8FC25E0F3E5F}"/>
          </ac:spMkLst>
        </pc:spChg>
        <pc:spChg chg="del">
          <ac:chgData name="Alvarez, Becky" userId="S::bealvarez@deloitte.com::188f73ca-c6f1-4f7f-be0c-e80beec6d4d1" providerId="AD" clId="Web-{EEAD50ED-FC84-4D3A-A07E-8FD1987BCC2A}" dt="2023-02-13T16:24:16.937" v="113"/>
          <ac:spMkLst>
            <pc:docMk/>
            <pc:sldMk cId="4128911945" sldId="2147471062"/>
            <ac:spMk id="5" creationId="{61DC2F98-DF9F-0DD9-780F-974A32B8C526}"/>
          </ac:spMkLst>
        </pc:spChg>
        <pc:spChg chg="mod ord">
          <ac:chgData name="Alvarez, Becky" userId="S::bealvarez@deloitte.com::188f73ca-c6f1-4f7f-be0c-e80beec6d4d1" providerId="AD" clId="Web-{EEAD50ED-FC84-4D3A-A07E-8FD1987BCC2A}" dt="2023-02-13T16:29:17.184" v="256" actId="20577"/>
          <ac:spMkLst>
            <pc:docMk/>
            <pc:sldMk cId="4128911945" sldId="2147471062"/>
            <ac:spMk id="6" creationId="{FAED166A-FCB9-3623-6B07-016796695496}"/>
          </ac:spMkLst>
        </pc:spChg>
      </pc:sldChg>
      <pc:sldChg chg="addSp delSp modSp new mod ord modClrScheme chgLayout">
        <pc:chgData name="Alvarez, Becky" userId="S::bealvarez@deloitte.com::188f73ca-c6f1-4f7f-be0c-e80beec6d4d1" providerId="AD" clId="Web-{EEAD50ED-FC84-4D3A-A07E-8FD1987BCC2A}" dt="2023-02-13T19:52:04.410" v="754" actId="14100"/>
        <pc:sldMkLst>
          <pc:docMk/>
          <pc:sldMk cId="454488944" sldId="2147471063"/>
        </pc:sldMkLst>
        <pc:spChg chg="add mod topLvl">
          <ac:chgData name="Alvarez, Becky" userId="S::bealvarez@deloitte.com::188f73ca-c6f1-4f7f-be0c-e80beec6d4d1" providerId="AD" clId="Web-{EEAD50ED-FC84-4D3A-A07E-8FD1987BCC2A}" dt="2023-02-13T19:46:52.168" v="727" actId="1076"/>
          <ac:spMkLst>
            <pc:docMk/>
            <pc:sldMk cId="454488944" sldId="2147471063"/>
            <ac:spMk id="2" creationId="{BFA7277D-92C5-B7F3-FBFC-C846AADDDF14}"/>
          </ac:spMkLst>
        </pc:spChg>
        <pc:spChg chg="add del">
          <ac:chgData name="Alvarez, Becky" userId="S::bealvarez@deloitte.com::188f73ca-c6f1-4f7f-be0c-e80beec6d4d1" providerId="AD" clId="Web-{EEAD50ED-FC84-4D3A-A07E-8FD1987BCC2A}" dt="2023-02-13T17:46:22.864" v="453"/>
          <ac:spMkLst>
            <pc:docMk/>
            <pc:sldMk cId="454488944" sldId="2147471063"/>
            <ac:spMk id="2" creationId="{DE101B31-B20F-5DB3-B06A-D73D7E0F96CD}"/>
          </ac:spMkLst>
        </pc:spChg>
        <pc:spChg chg="add mod topLvl">
          <ac:chgData name="Alvarez, Becky" userId="S::bealvarez@deloitte.com::188f73ca-c6f1-4f7f-be0c-e80beec6d4d1" providerId="AD" clId="Web-{EEAD50ED-FC84-4D3A-A07E-8FD1987BCC2A}" dt="2023-02-13T19:46:42.152" v="726" actId="1076"/>
          <ac:spMkLst>
            <pc:docMk/>
            <pc:sldMk cId="454488944" sldId="2147471063"/>
            <ac:spMk id="3" creationId="{46917102-3D92-00AC-100D-03DB98CA8C9D}"/>
          </ac:spMkLst>
        </pc:spChg>
        <pc:spChg chg="add del">
          <ac:chgData name="Alvarez, Becky" userId="S::bealvarez@deloitte.com::188f73ca-c6f1-4f7f-be0c-e80beec6d4d1" providerId="AD" clId="Web-{EEAD50ED-FC84-4D3A-A07E-8FD1987BCC2A}" dt="2023-02-13T17:46:22.864" v="453"/>
          <ac:spMkLst>
            <pc:docMk/>
            <pc:sldMk cId="454488944" sldId="2147471063"/>
            <ac:spMk id="3" creationId="{56B09688-AC2A-E5CC-AE56-25F32C1826EA}"/>
          </ac:spMkLst>
        </pc:spChg>
        <pc:spChg chg="add mod topLvl">
          <ac:chgData name="Alvarez, Becky" userId="S::bealvarez@deloitte.com::188f73ca-c6f1-4f7f-be0c-e80beec6d4d1" providerId="AD" clId="Web-{EEAD50ED-FC84-4D3A-A07E-8FD1987BCC2A}" dt="2023-02-13T19:52:04.410" v="754" actId="14100"/>
          <ac:spMkLst>
            <pc:docMk/>
            <pc:sldMk cId="454488944" sldId="2147471063"/>
            <ac:spMk id="4" creationId="{AAEA0169-4F2E-6F0C-257E-B845D4384DED}"/>
          </ac:spMkLst>
        </pc:spChg>
        <pc:spChg chg="add del">
          <ac:chgData name="Alvarez, Becky" userId="S::bealvarez@deloitte.com::188f73ca-c6f1-4f7f-be0c-e80beec6d4d1" providerId="AD" clId="Web-{EEAD50ED-FC84-4D3A-A07E-8FD1987BCC2A}" dt="2023-02-13T17:52:01.254" v="477"/>
          <ac:spMkLst>
            <pc:docMk/>
            <pc:sldMk cId="454488944" sldId="2147471063"/>
            <ac:spMk id="7" creationId="{152ABCD3-0858-B38B-172C-E480A9EBECCF}"/>
          </ac:spMkLst>
        </pc:spChg>
        <pc:spChg chg="add mod">
          <ac:chgData name="Alvarez, Becky" userId="S::bealvarez@deloitte.com::188f73ca-c6f1-4f7f-be0c-e80beec6d4d1" providerId="AD" clId="Web-{EEAD50ED-FC84-4D3A-A07E-8FD1987BCC2A}" dt="2023-02-13T19:48:05.607" v="736" actId="20577"/>
          <ac:spMkLst>
            <pc:docMk/>
            <pc:sldMk cId="454488944" sldId="2147471063"/>
            <ac:spMk id="8" creationId="{4E6FBF7B-D8F4-67EC-CCCD-0ED59112EE81}"/>
          </ac:spMkLst>
        </pc:spChg>
        <pc:spChg chg="add mod">
          <ac:chgData name="Alvarez, Becky" userId="S::bealvarez@deloitte.com::188f73ca-c6f1-4f7f-be0c-e80beec6d4d1" providerId="AD" clId="Web-{EEAD50ED-FC84-4D3A-A07E-8FD1987BCC2A}" dt="2023-02-13T17:51:32.893" v="475" actId="20577"/>
          <ac:spMkLst>
            <pc:docMk/>
            <pc:sldMk cId="454488944" sldId="2147471063"/>
            <ac:spMk id="9" creationId="{1B592488-CE33-19F8-8DF1-583D7E7C44C4}"/>
          </ac:spMkLst>
        </pc:spChg>
        <pc:spChg chg="add del">
          <ac:chgData name="Alvarez, Becky" userId="S::bealvarez@deloitte.com::188f73ca-c6f1-4f7f-be0c-e80beec6d4d1" providerId="AD" clId="Web-{EEAD50ED-FC84-4D3A-A07E-8FD1987BCC2A}" dt="2023-02-13T17:53:20.663" v="484"/>
          <ac:spMkLst>
            <pc:docMk/>
            <pc:sldMk cId="454488944" sldId="2147471063"/>
            <ac:spMk id="10" creationId="{0DA5B1A2-B018-5672-1309-6C528FF293A9}"/>
          </ac:spMkLst>
        </pc:spChg>
        <pc:spChg chg="add del mod">
          <ac:chgData name="Alvarez, Becky" userId="S::bealvarez@deloitte.com::188f73ca-c6f1-4f7f-be0c-e80beec6d4d1" providerId="AD" clId="Web-{EEAD50ED-FC84-4D3A-A07E-8FD1987BCC2A}" dt="2023-02-13T17:55:02.027" v="502"/>
          <ac:spMkLst>
            <pc:docMk/>
            <pc:sldMk cId="454488944" sldId="2147471063"/>
            <ac:spMk id="11" creationId="{40199279-7EC6-2031-1461-F7BCC9AF92E8}"/>
          </ac:spMkLst>
        </pc:spChg>
        <pc:spChg chg="add mod topLvl">
          <ac:chgData name="Alvarez, Becky" userId="S::bealvarez@deloitte.com::188f73ca-c6f1-4f7f-be0c-e80beec6d4d1" providerId="AD" clId="Web-{EEAD50ED-FC84-4D3A-A07E-8FD1987BCC2A}" dt="2023-02-13T19:47:52.060" v="734" actId="20577"/>
          <ac:spMkLst>
            <pc:docMk/>
            <pc:sldMk cId="454488944" sldId="2147471063"/>
            <ac:spMk id="12" creationId="{9C5F3044-E9DB-5FEE-C685-8B513C9E9075}"/>
          </ac:spMkLst>
        </pc:spChg>
        <pc:spChg chg="add del mod">
          <ac:chgData name="Alvarez, Becky" userId="S::bealvarez@deloitte.com::188f73ca-c6f1-4f7f-be0c-e80beec6d4d1" providerId="AD" clId="Web-{EEAD50ED-FC84-4D3A-A07E-8FD1987BCC2A}" dt="2023-02-13T19:16:47.077" v="557"/>
          <ac:spMkLst>
            <pc:docMk/>
            <pc:sldMk cId="454488944" sldId="2147471063"/>
            <ac:spMk id="13" creationId="{5E0329D7-C1AE-D7AA-17A7-C48D86720BCF}"/>
          </ac:spMkLst>
        </pc:spChg>
        <pc:grpChg chg="add del mod ord">
          <ac:chgData name="Alvarez, Becky" userId="S::bealvarez@deloitte.com::188f73ca-c6f1-4f7f-be0c-e80beec6d4d1" providerId="AD" clId="Web-{EEAD50ED-FC84-4D3A-A07E-8FD1987BCC2A}" dt="2023-02-13T19:46:31.605" v="720"/>
          <ac:grpSpMkLst>
            <pc:docMk/>
            <pc:sldMk cId="454488944" sldId="2147471063"/>
            <ac:grpSpMk id="5" creationId="{878C84F1-7F99-B445-CD9E-883E5A688068}"/>
          </ac:grpSpMkLst>
        </pc:grpChg>
        <pc:picChg chg="add del mod">
          <ac:chgData name="Alvarez, Becky" userId="S::bealvarez@deloitte.com::188f73ca-c6f1-4f7f-be0c-e80beec6d4d1" providerId="AD" clId="Web-{EEAD50ED-FC84-4D3A-A07E-8FD1987BCC2A}" dt="2023-02-13T17:51:05.579" v="457"/>
          <ac:picMkLst>
            <pc:docMk/>
            <pc:sldMk cId="454488944" sldId="2147471063"/>
            <ac:picMk id="4" creationId="{5B3AD1D8-FDB4-E214-F4CF-E98E9A892AF7}"/>
          </ac:picMkLst>
        </pc:picChg>
        <pc:picChg chg="add del mod">
          <ac:chgData name="Alvarez, Becky" userId="S::bealvarez@deloitte.com::188f73ca-c6f1-4f7f-be0c-e80beec6d4d1" providerId="AD" clId="Web-{EEAD50ED-FC84-4D3A-A07E-8FD1987BCC2A}" dt="2023-02-13T17:51:12.767" v="459"/>
          <ac:picMkLst>
            <pc:docMk/>
            <pc:sldMk cId="454488944" sldId="2147471063"/>
            <ac:picMk id="5" creationId="{2B760A22-1A78-97FB-E9C9-D15C4500714D}"/>
          </ac:picMkLst>
        </pc:picChg>
        <pc:picChg chg="add del mod">
          <ac:chgData name="Alvarez, Becky" userId="S::bealvarez@deloitte.com::188f73ca-c6f1-4f7f-be0c-e80beec6d4d1" providerId="AD" clId="Web-{EEAD50ED-FC84-4D3A-A07E-8FD1987BCC2A}" dt="2023-02-13T19:39:46.376" v="711"/>
          <ac:picMkLst>
            <pc:docMk/>
            <pc:sldMk cId="454488944" sldId="2147471063"/>
            <ac:picMk id="6" creationId="{CBDFEED6-B5D6-E464-2E5B-3134537334CC}"/>
          </ac:picMkLst>
        </pc:picChg>
        <pc:picChg chg="add del mod">
          <ac:chgData name="Alvarez, Becky" userId="S::bealvarez@deloitte.com::188f73ca-c6f1-4f7f-be0c-e80beec6d4d1" providerId="AD" clId="Web-{EEAD50ED-FC84-4D3A-A07E-8FD1987BCC2A}" dt="2023-02-13T19:50:10.110" v="737"/>
          <ac:picMkLst>
            <pc:docMk/>
            <pc:sldMk cId="454488944" sldId="2147471063"/>
            <ac:picMk id="7" creationId="{560FA849-87B5-A932-0EE1-9638F4301522}"/>
          </ac:picMkLst>
        </pc:picChg>
        <pc:picChg chg="add del mod">
          <ac:chgData name="Alvarez, Becky" userId="S::bealvarez@deloitte.com::188f73ca-c6f1-4f7f-be0c-e80beec6d4d1" providerId="AD" clId="Web-{EEAD50ED-FC84-4D3A-A07E-8FD1987BCC2A}" dt="2023-02-13T17:53:02.475" v="482"/>
          <ac:picMkLst>
            <pc:docMk/>
            <pc:sldMk cId="454488944" sldId="2147471063"/>
            <ac:picMk id="8" creationId="{1FD893EB-9CE2-D6B1-1F6E-0EFBAE03527B}"/>
          </ac:picMkLst>
        </pc:picChg>
        <pc:picChg chg="add mod">
          <ac:chgData name="Alvarez, Becky" userId="S::bealvarez@deloitte.com::188f73ca-c6f1-4f7f-be0c-e80beec6d4d1" providerId="AD" clId="Web-{EEAD50ED-FC84-4D3A-A07E-8FD1987BCC2A}" dt="2023-02-13T19:50:24.064" v="741" actId="14100"/>
          <ac:picMkLst>
            <pc:docMk/>
            <pc:sldMk cId="454488944" sldId="2147471063"/>
            <ac:picMk id="10" creationId="{7ED8C780-E8DC-A6D2-8534-B02A6BA20435}"/>
          </ac:picMkLst>
        </pc:picChg>
      </pc:sldChg>
    </pc:docChg>
  </pc:docChgLst>
  <pc:docChgLst>
    <pc:chgData name="Alvarez, Becky" userId="S::bealvarez@deloitte.com::188f73ca-c6f1-4f7f-be0c-e80beec6d4d1" providerId="AD" clId="Web-{AB5B6A20-CCFF-4764-8DDD-D2344EF5822C}"/>
    <pc:docChg chg="addSld delSld modSld">
      <pc:chgData name="Alvarez, Becky" userId="S::bealvarez@deloitte.com::188f73ca-c6f1-4f7f-be0c-e80beec6d4d1" providerId="AD" clId="Web-{AB5B6A20-CCFF-4764-8DDD-D2344EF5822C}" dt="2023-02-14T13:49:51.681" v="21" actId="20577"/>
      <pc:docMkLst>
        <pc:docMk/>
      </pc:docMkLst>
      <pc:sldChg chg="addSp delSp modSp">
        <pc:chgData name="Alvarez, Becky" userId="S::bealvarez@deloitte.com::188f73ca-c6f1-4f7f-be0c-e80beec6d4d1" providerId="AD" clId="Web-{AB5B6A20-CCFF-4764-8DDD-D2344EF5822C}" dt="2023-02-14T13:48:10.100" v="16"/>
        <pc:sldMkLst>
          <pc:docMk/>
          <pc:sldMk cId="1301746540" sldId="2147471048"/>
        </pc:sldMkLst>
        <pc:picChg chg="add del mod">
          <ac:chgData name="Alvarez, Becky" userId="S::bealvarez@deloitte.com::188f73ca-c6f1-4f7f-be0c-e80beec6d4d1" providerId="AD" clId="Web-{AB5B6A20-CCFF-4764-8DDD-D2344EF5822C}" dt="2023-02-14T13:48:10.100" v="16"/>
          <ac:picMkLst>
            <pc:docMk/>
            <pc:sldMk cId="1301746540" sldId="2147471048"/>
            <ac:picMk id="5" creationId="{665605F9-6CCC-62D5-EC23-C76F4D21B48F}"/>
          </ac:picMkLst>
        </pc:picChg>
      </pc:sldChg>
      <pc:sldChg chg="modSp">
        <pc:chgData name="Alvarez, Becky" userId="S::bealvarez@deloitte.com::188f73ca-c6f1-4f7f-be0c-e80beec6d4d1" providerId="AD" clId="Web-{AB5B6A20-CCFF-4764-8DDD-D2344EF5822C}" dt="2023-02-14T13:40:17.247" v="8" actId="1076"/>
        <pc:sldMkLst>
          <pc:docMk/>
          <pc:sldMk cId="55273925" sldId="2147471065"/>
        </pc:sldMkLst>
        <pc:cxnChg chg="mod">
          <ac:chgData name="Alvarez, Becky" userId="S::bealvarez@deloitte.com::188f73ca-c6f1-4f7f-be0c-e80beec6d4d1" providerId="AD" clId="Web-{AB5B6A20-CCFF-4764-8DDD-D2344EF5822C}" dt="2023-02-14T13:40:17.247" v="8" actId="1076"/>
          <ac:cxnSpMkLst>
            <pc:docMk/>
            <pc:sldMk cId="55273925" sldId="2147471065"/>
            <ac:cxnSpMk id="22" creationId="{260E8E35-F83A-4552-8C14-60722C64F2DF}"/>
          </ac:cxnSpMkLst>
        </pc:cxnChg>
      </pc:sldChg>
      <pc:sldChg chg="modSp new">
        <pc:chgData name="Alvarez, Becky" userId="S::bealvarez@deloitte.com::188f73ca-c6f1-4f7f-be0c-e80beec6d4d1" providerId="AD" clId="Web-{AB5B6A20-CCFF-4764-8DDD-D2344EF5822C}" dt="2023-02-14T13:49:51.681" v="21" actId="20577"/>
        <pc:sldMkLst>
          <pc:docMk/>
          <pc:sldMk cId="78117434" sldId="2147471066"/>
        </pc:sldMkLst>
        <pc:spChg chg="mod">
          <ac:chgData name="Alvarez, Becky" userId="S::bealvarez@deloitte.com::188f73ca-c6f1-4f7f-be0c-e80beec6d4d1" providerId="AD" clId="Web-{AB5B6A20-CCFF-4764-8DDD-D2344EF5822C}" dt="2023-02-14T13:49:51.681" v="21" actId="20577"/>
          <ac:spMkLst>
            <pc:docMk/>
            <pc:sldMk cId="78117434" sldId="2147471066"/>
            <ac:spMk id="6" creationId="{EE94CFEB-5F60-DEEA-BAE7-E1E383FB8711}"/>
          </ac:spMkLst>
        </pc:spChg>
      </pc:sldChg>
      <pc:sldChg chg="addSp delSp modSp new del">
        <pc:chgData name="Alvarez, Becky" userId="S::bealvarez@deloitte.com::188f73ca-c6f1-4f7f-be0c-e80beec6d4d1" providerId="AD" clId="Web-{AB5B6A20-CCFF-4764-8DDD-D2344EF5822C}" dt="2023-02-14T13:48:24.085" v="17"/>
        <pc:sldMkLst>
          <pc:docMk/>
          <pc:sldMk cId="420639754" sldId="2147471066"/>
        </pc:sldMkLst>
        <pc:picChg chg="add del mod">
          <ac:chgData name="Alvarez, Becky" userId="S::bealvarez@deloitte.com::188f73ca-c6f1-4f7f-be0c-e80beec6d4d1" providerId="AD" clId="Web-{AB5B6A20-CCFF-4764-8DDD-D2344EF5822C}" dt="2023-02-14T13:46:09.770" v="12"/>
          <ac:picMkLst>
            <pc:docMk/>
            <pc:sldMk cId="420639754" sldId="2147471066"/>
            <ac:picMk id="4" creationId="{75848B21-CEF0-323A-CD3E-9D8E93E98CE2}"/>
          </ac:picMkLst>
        </pc:picChg>
        <pc:picChg chg="add mod">
          <ac:chgData name="Alvarez, Becky" userId="S::bealvarez@deloitte.com::188f73ca-c6f1-4f7f-be0c-e80beec6d4d1" providerId="AD" clId="Web-{AB5B6A20-CCFF-4764-8DDD-D2344EF5822C}" dt="2023-02-14T13:48:02.772" v="14" actId="1076"/>
          <ac:picMkLst>
            <pc:docMk/>
            <pc:sldMk cId="420639754" sldId="2147471066"/>
            <ac:picMk id="5" creationId="{400A9471-F096-7DF0-1E39-6B8961978560}"/>
          </ac:picMkLst>
        </pc:picChg>
      </pc:sldChg>
      <pc:sldChg chg="delSp modSp del">
        <pc:chgData name="Alvarez, Becky" userId="S::bealvarez@deloitte.com::188f73ca-c6f1-4f7f-be0c-e80beec6d4d1" providerId="AD" clId="Web-{AB5B6A20-CCFF-4764-8DDD-D2344EF5822C}" dt="2023-02-14T13:41:40.858" v="9"/>
        <pc:sldMkLst>
          <pc:docMk/>
          <pc:sldMk cId="3953194295" sldId="2147471066"/>
        </pc:sldMkLst>
        <pc:spChg chg="mod">
          <ac:chgData name="Alvarez, Becky" userId="S::bealvarez@deloitte.com::188f73ca-c6f1-4f7f-be0c-e80beec6d4d1" providerId="AD" clId="Web-{AB5B6A20-CCFF-4764-8DDD-D2344EF5822C}" dt="2023-02-14T13:36:55.946" v="4" actId="14100"/>
          <ac:spMkLst>
            <pc:docMk/>
            <pc:sldMk cId="3953194295" sldId="2147471066"/>
            <ac:spMk id="7" creationId="{6920EE2A-7A02-AE4C-3A62-B315C48CC38D}"/>
          </ac:spMkLst>
        </pc:spChg>
        <pc:cxnChg chg="del mod">
          <ac:chgData name="Alvarez, Becky" userId="S::bealvarez@deloitte.com::188f73ca-c6f1-4f7f-be0c-e80beec6d4d1" providerId="AD" clId="Web-{AB5B6A20-CCFF-4764-8DDD-D2344EF5822C}" dt="2023-02-14T13:36:48.118" v="3"/>
          <ac:cxnSpMkLst>
            <pc:docMk/>
            <pc:sldMk cId="3953194295" sldId="2147471066"/>
            <ac:cxnSpMk id="20" creationId="{C4A75BC5-0E53-31D1-D743-1DB1DE8EB5BF}"/>
          </ac:cxnSpMkLst>
        </pc:cxnChg>
      </pc:sldChg>
    </pc:docChg>
  </pc:docChgLst>
  <pc:docChgLst>
    <pc:chgData name="Tanna, Nishant Kiritbhai" userId="S::ntanna@deloitte.com::d1370780-4bcf-4f4c-93e1-7b4f1d6c7dbb" providerId="AD" clId="Web-{11D13028-54D7-4C3F-AB3A-D633B09888D5}"/>
    <pc:docChg chg="modSld">
      <pc:chgData name="Tanna, Nishant Kiritbhai" userId="S::ntanna@deloitte.com::d1370780-4bcf-4f4c-93e1-7b4f1d6c7dbb" providerId="AD" clId="Web-{11D13028-54D7-4C3F-AB3A-D633B09888D5}" dt="2023-02-12T18:15:28.700" v="29"/>
      <pc:docMkLst>
        <pc:docMk/>
      </pc:docMkLst>
      <pc:sldChg chg="modSp modCm">
        <pc:chgData name="Tanna, Nishant Kiritbhai" userId="S::ntanna@deloitte.com::d1370780-4bcf-4f4c-93e1-7b4f1d6c7dbb" providerId="AD" clId="Web-{11D13028-54D7-4C3F-AB3A-D633B09888D5}" dt="2023-02-12T18:15:28.700" v="29"/>
        <pc:sldMkLst>
          <pc:docMk/>
          <pc:sldMk cId="861957290" sldId="341"/>
        </pc:sldMkLst>
        <pc:spChg chg="mod">
          <ac:chgData name="Tanna, Nishant Kiritbhai" userId="S::ntanna@deloitte.com::d1370780-4bcf-4f4c-93e1-7b4f1d6c7dbb" providerId="AD" clId="Web-{11D13028-54D7-4C3F-AB3A-D633B09888D5}" dt="2023-02-12T18:14:34.527" v="28" actId="20577"/>
          <ac:spMkLst>
            <pc:docMk/>
            <pc:sldMk cId="861957290" sldId="341"/>
            <ac:spMk id="13" creationId="{DE5B9CEA-5E73-4E22-8C75-E8D43059FFC7}"/>
          </ac:spMkLst>
        </pc:spChg>
      </pc:sldChg>
    </pc:docChg>
  </pc:docChgLst>
  <pc:docChgLst>
    <pc:chgData name="Saini, Deepak" userId="S::dsaini@deloitte.com::e80dbb9a-4b07-4a9f-88ef-d15fa0089888" providerId="AD" clId="Web-{D82D073E-9F84-45B6-A4AD-C69DD34B4B99}"/>
    <pc:docChg chg="addSld modSld">
      <pc:chgData name="Saini, Deepak" userId="S::dsaini@deloitte.com::e80dbb9a-4b07-4a9f-88ef-d15fa0089888" providerId="AD" clId="Web-{D82D073E-9F84-45B6-A4AD-C69DD34B4B99}" dt="2023-02-14T12:02:49.402" v="281" actId="14100"/>
      <pc:docMkLst>
        <pc:docMk/>
      </pc:docMkLst>
      <pc:sldChg chg="delCm">
        <pc:chgData name="Saini, Deepak" userId="S::dsaini@deloitte.com::e80dbb9a-4b07-4a9f-88ef-d15fa0089888" providerId="AD" clId="Web-{D82D073E-9F84-45B6-A4AD-C69DD34B4B99}" dt="2023-02-14T11:52:44.241" v="0"/>
        <pc:sldMkLst>
          <pc:docMk/>
          <pc:sldMk cId="352092785" sldId="2147471001"/>
        </pc:sldMkLst>
      </pc:sldChg>
      <pc:sldChg chg="modSp">
        <pc:chgData name="Saini, Deepak" userId="S::dsaini@deloitte.com::e80dbb9a-4b07-4a9f-88ef-d15fa0089888" providerId="AD" clId="Web-{D82D073E-9F84-45B6-A4AD-C69DD34B4B99}" dt="2023-02-14T11:54:27.166" v="7" actId="14100"/>
        <pc:sldMkLst>
          <pc:docMk/>
          <pc:sldMk cId="1301746540" sldId="2147471048"/>
        </pc:sldMkLst>
        <pc:spChg chg="mod">
          <ac:chgData name="Saini, Deepak" userId="S::dsaini@deloitte.com::e80dbb9a-4b07-4a9f-88ef-d15fa0089888" providerId="AD" clId="Web-{D82D073E-9F84-45B6-A4AD-C69DD34B4B99}" dt="2023-02-14T11:54:27.166" v="7" actId="14100"/>
          <ac:spMkLst>
            <pc:docMk/>
            <pc:sldMk cId="1301746540" sldId="2147471048"/>
            <ac:spMk id="12" creationId="{C30DE4ED-05D8-450A-82B9-66388C9ACCDF}"/>
          </ac:spMkLst>
        </pc:spChg>
      </pc:sldChg>
      <pc:sldChg chg="modSp">
        <pc:chgData name="Saini, Deepak" userId="S::dsaini@deloitte.com::e80dbb9a-4b07-4a9f-88ef-d15fa0089888" providerId="AD" clId="Web-{D82D073E-9F84-45B6-A4AD-C69DD34B4B99}" dt="2023-02-14T11:53:46.165" v="5" actId="20577"/>
        <pc:sldMkLst>
          <pc:docMk/>
          <pc:sldMk cId="3571490006" sldId="2147471052"/>
        </pc:sldMkLst>
        <pc:spChg chg="mod">
          <ac:chgData name="Saini, Deepak" userId="S::dsaini@deloitte.com::e80dbb9a-4b07-4a9f-88ef-d15fa0089888" providerId="AD" clId="Web-{D82D073E-9F84-45B6-A4AD-C69DD34B4B99}" dt="2023-02-14T11:53:46.165" v="5" actId="20577"/>
          <ac:spMkLst>
            <pc:docMk/>
            <pc:sldMk cId="3571490006" sldId="2147471052"/>
            <ac:spMk id="4" creationId="{7FDDA687-E645-EC1C-10EA-1785F7FFDF9D}"/>
          </ac:spMkLst>
        </pc:spChg>
      </pc:sldChg>
      <pc:sldChg chg="modSp">
        <pc:chgData name="Saini, Deepak" userId="S::dsaini@deloitte.com::e80dbb9a-4b07-4a9f-88ef-d15fa0089888" providerId="AD" clId="Web-{D82D073E-9F84-45B6-A4AD-C69DD34B4B99}" dt="2023-02-14T11:54:15.463" v="6" actId="14100"/>
        <pc:sldMkLst>
          <pc:docMk/>
          <pc:sldMk cId="55273925" sldId="2147471065"/>
        </pc:sldMkLst>
        <pc:spChg chg="mod">
          <ac:chgData name="Saini, Deepak" userId="S::dsaini@deloitte.com::e80dbb9a-4b07-4a9f-88ef-d15fa0089888" providerId="AD" clId="Web-{D82D073E-9F84-45B6-A4AD-C69DD34B4B99}" dt="2023-02-14T11:54:15.463" v="6" actId="14100"/>
          <ac:spMkLst>
            <pc:docMk/>
            <pc:sldMk cId="55273925" sldId="2147471065"/>
            <ac:spMk id="38" creationId="{1527763B-D3F2-411D-87FC-F5C28618A7AB}"/>
          </ac:spMkLst>
        </pc:spChg>
      </pc:sldChg>
      <pc:sldChg chg="addSp delSp modSp add replId">
        <pc:chgData name="Saini, Deepak" userId="S::dsaini@deloitte.com::e80dbb9a-4b07-4a9f-88ef-d15fa0089888" providerId="AD" clId="Web-{D82D073E-9F84-45B6-A4AD-C69DD34B4B99}" dt="2023-02-14T12:02:49.402" v="281" actId="14100"/>
        <pc:sldMkLst>
          <pc:docMk/>
          <pc:sldMk cId="3953194295" sldId="2147471066"/>
        </pc:sldMkLst>
        <pc:spChg chg="del mod">
          <ac:chgData name="Saini, Deepak" userId="S::dsaini@deloitte.com::e80dbb9a-4b07-4a9f-88ef-d15fa0089888" providerId="AD" clId="Web-{D82D073E-9F84-45B6-A4AD-C69DD34B4B99}" dt="2023-02-14T12:01:44.478" v="255"/>
          <ac:spMkLst>
            <pc:docMk/>
            <pc:sldMk cId="3953194295" sldId="2147471066"/>
            <ac:spMk id="2" creationId="{983642F4-A8BC-41B4-A292-F7F8D7D64DBA}"/>
          </ac:spMkLst>
        </pc:spChg>
        <pc:spChg chg="add mod">
          <ac:chgData name="Saini, Deepak" userId="S::dsaini@deloitte.com::e80dbb9a-4b07-4a9f-88ef-d15fa0089888" providerId="AD" clId="Web-{D82D073E-9F84-45B6-A4AD-C69DD34B4B99}" dt="2023-02-14T12:02:13.370" v="265" actId="14100"/>
          <ac:spMkLst>
            <pc:docMk/>
            <pc:sldMk cId="3953194295" sldId="2147471066"/>
            <ac:spMk id="5" creationId="{5ECEF4C3-54F3-FF3C-1C47-E30487756C87}"/>
          </ac:spMkLst>
        </pc:spChg>
        <pc:spChg chg="add mod">
          <ac:chgData name="Saini, Deepak" userId="S::dsaini@deloitte.com::e80dbb9a-4b07-4a9f-88ef-d15fa0089888" providerId="AD" clId="Web-{D82D073E-9F84-45B6-A4AD-C69DD34B4B99}" dt="2023-02-14T12:02:13.510" v="272" actId="14100"/>
          <ac:spMkLst>
            <pc:docMk/>
            <pc:sldMk cId="3953194295" sldId="2147471066"/>
            <ac:spMk id="7" creationId="{6920EE2A-7A02-AE4C-3A62-B315C48CC38D}"/>
          </ac:spMkLst>
        </pc:spChg>
        <pc:spChg chg="add mod">
          <ac:chgData name="Saini, Deepak" userId="S::dsaini@deloitte.com::e80dbb9a-4b07-4a9f-88ef-d15fa0089888" providerId="AD" clId="Web-{D82D073E-9F84-45B6-A4AD-C69DD34B4B99}" dt="2023-02-14T12:02:15.932" v="273" actId="1076"/>
          <ac:spMkLst>
            <pc:docMk/>
            <pc:sldMk cId="3953194295" sldId="2147471066"/>
            <ac:spMk id="8" creationId="{419FDF49-1C87-CC71-93A3-E0D949264ABB}"/>
          </ac:spMkLst>
        </pc:spChg>
        <pc:spChg chg="add mod">
          <ac:chgData name="Saini, Deepak" userId="S::dsaini@deloitte.com::e80dbb9a-4b07-4a9f-88ef-d15fa0089888" providerId="AD" clId="Web-{D82D073E-9F84-45B6-A4AD-C69DD34B4B99}" dt="2023-02-14T12:02:13.416" v="267" actId="14100"/>
          <ac:spMkLst>
            <pc:docMk/>
            <pc:sldMk cId="3953194295" sldId="2147471066"/>
            <ac:spMk id="9" creationId="{81F33E68-C1AA-9573-790E-1B49CA65A4E6}"/>
          </ac:spMkLst>
        </pc:spChg>
        <pc:spChg chg="add mod">
          <ac:chgData name="Saini, Deepak" userId="S::dsaini@deloitte.com::e80dbb9a-4b07-4a9f-88ef-d15fa0089888" providerId="AD" clId="Web-{D82D073E-9F84-45B6-A4AD-C69DD34B4B99}" dt="2023-02-14T12:02:13.432" v="268" actId="14100"/>
          <ac:spMkLst>
            <pc:docMk/>
            <pc:sldMk cId="3953194295" sldId="2147471066"/>
            <ac:spMk id="10" creationId="{C05F3CAA-AFAC-84C4-0F70-DAABC68E72CD}"/>
          </ac:spMkLst>
        </pc:spChg>
        <pc:spChg chg="add mod">
          <ac:chgData name="Saini, Deepak" userId="S::dsaini@deloitte.com::e80dbb9a-4b07-4a9f-88ef-d15fa0089888" providerId="AD" clId="Web-{D82D073E-9F84-45B6-A4AD-C69DD34B4B99}" dt="2023-02-14T12:02:13.463" v="269" actId="14100"/>
          <ac:spMkLst>
            <pc:docMk/>
            <pc:sldMk cId="3953194295" sldId="2147471066"/>
            <ac:spMk id="16" creationId="{E1FDD004-192C-5098-E4CE-E9CB802859E4}"/>
          </ac:spMkLst>
        </pc:spChg>
        <pc:spChg chg="add mod">
          <ac:chgData name="Saini, Deepak" userId="S::dsaini@deloitte.com::e80dbb9a-4b07-4a9f-88ef-d15fa0089888" providerId="AD" clId="Web-{D82D073E-9F84-45B6-A4AD-C69DD34B4B99}" dt="2023-02-14T12:02:13.479" v="270" actId="14100"/>
          <ac:spMkLst>
            <pc:docMk/>
            <pc:sldMk cId="3953194295" sldId="2147471066"/>
            <ac:spMk id="18" creationId="{CC8908E3-8288-4E33-A492-40C3AE45F886}"/>
          </ac:spMkLst>
        </pc:spChg>
        <pc:spChg chg="add mod">
          <ac:chgData name="Saini, Deepak" userId="S::dsaini@deloitte.com::e80dbb9a-4b07-4a9f-88ef-d15fa0089888" providerId="AD" clId="Web-{D82D073E-9F84-45B6-A4AD-C69DD34B4B99}" dt="2023-02-14T12:02:19.260" v="274" actId="1076"/>
          <ac:spMkLst>
            <pc:docMk/>
            <pc:sldMk cId="3953194295" sldId="2147471066"/>
            <ac:spMk id="19" creationId="{CBD88A66-F543-EA5F-6C1E-7AF36AFBBF9A}"/>
          </ac:spMkLst>
        </pc:spChg>
        <pc:cxnChg chg="add mod">
          <ac:chgData name="Saini, Deepak" userId="S::dsaini@deloitte.com::e80dbb9a-4b07-4a9f-88ef-d15fa0089888" providerId="AD" clId="Web-{D82D073E-9F84-45B6-A4AD-C69DD34B4B99}" dt="2023-02-14T12:02:49.402" v="281" actId="14100"/>
          <ac:cxnSpMkLst>
            <pc:docMk/>
            <pc:sldMk cId="3953194295" sldId="2147471066"/>
            <ac:cxnSpMk id="20" creationId="{C4A75BC5-0E53-31D1-D743-1DB1DE8EB5BF}"/>
          </ac:cxnSpMkLst>
        </pc:cxnChg>
      </pc:sldChg>
    </pc:docChg>
  </pc:docChgLst>
  <pc:docChgLst>
    <pc:chgData name="Agarwal, Ritvika Agarwal" userId="b707b316-64a3-4610-910f-1bdb9cece827" providerId="ADAL" clId="{40E9E367-FD06-4E0A-88C6-B990B7860D72}"/>
    <pc:docChg chg="undo redo custSel addSld delSld modSld">
      <pc:chgData name="Agarwal, Ritvika Agarwal" userId="b707b316-64a3-4610-910f-1bdb9cece827" providerId="ADAL" clId="{40E9E367-FD06-4E0A-88C6-B990B7860D72}" dt="2023-02-13T12:07:03.425" v="1261" actId="120"/>
      <pc:docMkLst>
        <pc:docMk/>
      </pc:docMkLst>
      <pc:sldChg chg="modSp mod">
        <pc:chgData name="Agarwal, Ritvika Agarwal" userId="b707b316-64a3-4610-910f-1bdb9cece827" providerId="ADAL" clId="{40E9E367-FD06-4E0A-88C6-B990B7860D72}" dt="2023-02-13T10:41:51.145" v="54" actId="20577"/>
        <pc:sldMkLst>
          <pc:docMk/>
          <pc:sldMk cId="36651200" sldId="262"/>
        </pc:sldMkLst>
        <pc:graphicFrameChg chg="modGraphic">
          <ac:chgData name="Agarwal, Ritvika Agarwal" userId="b707b316-64a3-4610-910f-1bdb9cece827" providerId="ADAL" clId="{40E9E367-FD06-4E0A-88C6-B990B7860D72}" dt="2023-02-13T10:41:51.145" v="54" actId="20577"/>
          <ac:graphicFrameMkLst>
            <pc:docMk/>
            <pc:sldMk cId="36651200" sldId="262"/>
            <ac:graphicFrameMk id="7" creationId="{195F3CE5-712D-4FE9-88E6-D841252AFFB5}"/>
          </ac:graphicFrameMkLst>
        </pc:graphicFrameChg>
      </pc:sldChg>
      <pc:sldChg chg="modSp mod">
        <pc:chgData name="Agarwal, Ritvika Agarwal" userId="b707b316-64a3-4610-910f-1bdb9cece827" providerId="ADAL" clId="{40E9E367-FD06-4E0A-88C6-B990B7860D72}" dt="2023-02-13T10:33:21.742" v="50" actId="1076"/>
        <pc:sldMkLst>
          <pc:docMk/>
          <pc:sldMk cId="861957290" sldId="341"/>
        </pc:sldMkLst>
        <pc:spChg chg="mod">
          <ac:chgData name="Agarwal, Ritvika Agarwal" userId="b707b316-64a3-4610-910f-1bdb9cece827" providerId="ADAL" clId="{40E9E367-FD06-4E0A-88C6-B990B7860D72}" dt="2023-02-13T10:33:21.742" v="50" actId="1076"/>
          <ac:spMkLst>
            <pc:docMk/>
            <pc:sldMk cId="861957290" sldId="341"/>
            <ac:spMk id="13" creationId="{DE5B9CEA-5E73-4E22-8C75-E8D43059FFC7}"/>
          </ac:spMkLst>
        </pc:spChg>
        <pc:picChg chg="mod">
          <ac:chgData name="Agarwal, Ritvika Agarwal" userId="b707b316-64a3-4610-910f-1bdb9cece827" providerId="ADAL" clId="{40E9E367-FD06-4E0A-88C6-B990B7860D72}" dt="2023-02-13T10:32:57.101" v="29" actId="1035"/>
          <ac:picMkLst>
            <pc:docMk/>
            <pc:sldMk cId="861957290" sldId="341"/>
            <ac:picMk id="3" creationId="{ED499F5B-62DD-D34B-8F92-57604AD4AE7A}"/>
          </ac:picMkLst>
        </pc:picChg>
      </pc:sldChg>
      <pc:sldChg chg="addSp delSp modSp mod">
        <pc:chgData name="Agarwal, Ritvika Agarwal" userId="b707b316-64a3-4610-910f-1bdb9cece827" providerId="ADAL" clId="{40E9E367-FD06-4E0A-88C6-B990B7860D72}" dt="2023-02-13T12:03:46.824" v="1134" actId="1036"/>
        <pc:sldMkLst>
          <pc:docMk/>
          <pc:sldMk cId="3343091185" sldId="2145704809"/>
        </pc:sldMkLst>
        <pc:spChg chg="mod">
          <ac:chgData name="Agarwal, Ritvika Agarwal" userId="b707b316-64a3-4610-910f-1bdb9cece827" providerId="ADAL" clId="{40E9E367-FD06-4E0A-88C6-B990B7860D72}" dt="2023-02-13T11:21:03.776" v="555" actId="255"/>
          <ac:spMkLst>
            <pc:docMk/>
            <pc:sldMk cId="3343091185" sldId="2145704809"/>
            <ac:spMk id="24" creationId="{CB48A1D1-2C9F-485B-B6D7-D60EC2B4BBA3}"/>
          </ac:spMkLst>
        </pc:spChg>
        <pc:spChg chg="mod">
          <ac:chgData name="Agarwal, Ritvika Agarwal" userId="b707b316-64a3-4610-910f-1bdb9cece827" providerId="ADAL" clId="{40E9E367-FD06-4E0A-88C6-B990B7860D72}" dt="2023-02-13T11:30:07.507" v="832" actId="1038"/>
          <ac:spMkLst>
            <pc:docMk/>
            <pc:sldMk cId="3343091185" sldId="2145704809"/>
            <ac:spMk id="25" creationId="{51A1E561-8416-4044-B954-7D325EDD61B0}"/>
          </ac:spMkLst>
        </pc:spChg>
        <pc:spChg chg="mod">
          <ac:chgData name="Agarwal, Ritvika Agarwal" userId="b707b316-64a3-4610-910f-1bdb9cece827" providerId="ADAL" clId="{40E9E367-FD06-4E0A-88C6-B990B7860D72}" dt="2023-02-13T12:03:41.127" v="1132" actId="108"/>
          <ac:spMkLst>
            <pc:docMk/>
            <pc:sldMk cId="3343091185" sldId="2145704809"/>
            <ac:spMk id="38" creationId="{84A24129-CA17-4B07-90FE-44AFFDBDD906}"/>
          </ac:spMkLst>
        </pc:spChg>
        <pc:spChg chg="mod">
          <ac:chgData name="Agarwal, Ritvika Agarwal" userId="b707b316-64a3-4610-910f-1bdb9cece827" providerId="ADAL" clId="{40E9E367-FD06-4E0A-88C6-B990B7860D72}" dt="2023-02-13T12:03:02.092" v="1125" actId="108"/>
          <ac:spMkLst>
            <pc:docMk/>
            <pc:sldMk cId="3343091185" sldId="2145704809"/>
            <ac:spMk id="39" creationId="{3A5C0AEC-B8BB-4A6C-A589-8C0549577440}"/>
          </ac:spMkLst>
        </pc:spChg>
        <pc:spChg chg="mod">
          <ac:chgData name="Agarwal, Ritvika Agarwal" userId="b707b316-64a3-4610-910f-1bdb9cece827" providerId="ADAL" clId="{40E9E367-FD06-4E0A-88C6-B990B7860D72}" dt="2023-02-13T12:03:03.612" v="1127" actId="108"/>
          <ac:spMkLst>
            <pc:docMk/>
            <pc:sldMk cId="3343091185" sldId="2145704809"/>
            <ac:spMk id="40" creationId="{43E93ABD-6030-47F1-8F67-B65FDDA1FF26}"/>
          </ac:spMkLst>
        </pc:spChg>
        <pc:spChg chg="mod">
          <ac:chgData name="Agarwal, Ritvika Agarwal" userId="b707b316-64a3-4610-910f-1bdb9cece827" providerId="ADAL" clId="{40E9E367-FD06-4E0A-88C6-B990B7860D72}" dt="2023-02-13T12:03:04.443" v="1128" actId="108"/>
          <ac:spMkLst>
            <pc:docMk/>
            <pc:sldMk cId="3343091185" sldId="2145704809"/>
            <ac:spMk id="41" creationId="{DA242DDB-C44F-43AF-8769-90285C33172C}"/>
          </ac:spMkLst>
        </pc:spChg>
        <pc:spChg chg="mod">
          <ac:chgData name="Agarwal, Ritvika Agarwal" userId="b707b316-64a3-4610-910f-1bdb9cece827" providerId="ADAL" clId="{40E9E367-FD06-4E0A-88C6-B990B7860D72}" dt="2023-02-13T12:02:58.978" v="1122" actId="108"/>
          <ac:spMkLst>
            <pc:docMk/>
            <pc:sldMk cId="3343091185" sldId="2145704809"/>
            <ac:spMk id="45" creationId="{FB95E2D6-7D56-405B-9821-973B550E3B1C}"/>
          </ac:spMkLst>
        </pc:spChg>
        <pc:spChg chg="mod">
          <ac:chgData name="Agarwal, Ritvika Agarwal" userId="b707b316-64a3-4610-910f-1bdb9cece827" providerId="ADAL" clId="{40E9E367-FD06-4E0A-88C6-B990B7860D72}" dt="2023-02-13T12:02:59.701" v="1123" actId="108"/>
          <ac:spMkLst>
            <pc:docMk/>
            <pc:sldMk cId="3343091185" sldId="2145704809"/>
            <ac:spMk id="46" creationId="{C94557C0-E2F6-43FC-88C7-1A2E352A5B39}"/>
          </ac:spMkLst>
        </pc:spChg>
        <pc:spChg chg="mod">
          <ac:chgData name="Agarwal, Ritvika Agarwal" userId="b707b316-64a3-4610-910f-1bdb9cece827" providerId="ADAL" clId="{40E9E367-FD06-4E0A-88C6-B990B7860D72}" dt="2023-02-13T12:03:00.366" v="1124" actId="108"/>
          <ac:spMkLst>
            <pc:docMk/>
            <pc:sldMk cId="3343091185" sldId="2145704809"/>
            <ac:spMk id="47" creationId="{8583FE5E-6D0C-47C3-94F8-4F12ED6D811C}"/>
          </ac:spMkLst>
        </pc:spChg>
        <pc:spChg chg="mod">
          <ac:chgData name="Agarwal, Ritvika Agarwal" userId="b707b316-64a3-4610-910f-1bdb9cece827" providerId="ADAL" clId="{40E9E367-FD06-4E0A-88C6-B990B7860D72}" dt="2023-02-13T12:02:47.888" v="1120" actId="207"/>
          <ac:spMkLst>
            <pc:docMk/>
            <pc:sldMk cId="3343091185" sldId="2145704809"/>
            <ac:spMk id="48" creationId="{B6F9E417-F2CA-4B5C-A109-D85D97C089FA}"/>
          </ac:spMkLst>
        </pc:spChg>
        <pc:spChg chg="mod">
          <ac:chgData name="Agarwal, Ritvika Agarwal" userId="b707b316-64a3-4610-910f-1bdb9cece827" providerId="ADAL" clId="{40E9E367-FD06-4E0A-88C6-B990B7860D72}" dt="2023-02-13T12:03:05.266" v="1129" actId="108"/>
          <ac:spMkLst>
            <pc:docMk/>
            <pc:sldMk cId="3343091185" sldId="2145704809"/>
            <ac:spMk id="50" creationId="{C4D02B50-3C6D-4E5C-89F1-CEEA19D0174C}"/>
          </ac:spMkLst>
        </pc:spChg>
        <pc:spChg chg="mod">
          <ac:chgData name="Agarwal, Ritvika Agarwal" userId="b707b316-64a3-4610-910f-1bdb9cece827" providerId="ADAL" clId="{40E9E367-FD06-4E0A-88C6-B990B7860D72}" dt="2023-02-13T12:03:06.034" v="1130" actId="108"/>
          <ac:spMkLst>
            <pc:docMk/>
            <pc:sldMk cId="3343091185" sldId="2145704809"/>
            <ac:spMk id="51" creationId="{46077298-D8C1-4D37-82F4-D24C1B1884F1}"/>
          </ac:spMkLst>
        </pc:spChg>
        <pc:spChg chg="mod">
          <ac:chgData name="Agarwal, Ritvika Agarwal" userId="b707b316-64a3-4610-910f-1bdb9cece827" providerId="ADAL" clId="{40E9E367-FD06-4E0A-88C6-B990B7860D72}" dt="2023-02-13T12:03:02.881" v="1126" actId="108"/>
          <ac:spMkLst>
            <pc:docMk/>
            <pc:sldMk cId="3343091185" sldId="2145704809"/>
            <ac:spMk id="52" creationId="{B37EE7D4-529C-4B55-A703-D507361C948F}"/>
          </ac:spMkLst>
        </pc:spChg>
        <pc:spChg chg="add mod">
          <ac:chgData name="Agarwal, Ritvika Agarwal" userId="b707b316-64a3-4610-910f-1bdb9cece827" providerId="ADAL" clId="{40E9E367-FD06-4E0A-88C6-B990B7860D72}" dt="2023-02-13T11:21:19.876" v="557" actId="164"/>
          <ac:spMkLst>
            <pc:docMk/>
            <pc:sldMk cId="3343091185" sldId="2145704809"/>
            <ac:spMk id="56" creationId="{E151EAA4-9281-4962-A6F4-FDAEA81B4F2E}"/>
          </ac:spMkLst>
        </pc:spChg>
        <pc:spChg chg="del">
          <ac:chgData name="Agarwal, Ritvika Agarwal" userId="b707b316-64a3-4610-910f-1bdb9cece827" providerId="ADAL" clId="{40E9E367-FD06-4E0A-88C6-B990B7860D72}" dt="2023-02-13T11:28:16.573" v="766" actId="478"/>
          <ac:spMkLst>
            <pc:docMk/>
            <pc:sldMk cId="3343091185" sldId="2145704809"/>
            <ac:spMk id="58" creationId="{80468910-69B1-4CD5-986A-859665DFF77A}"/>
          </ac:spMkLst>
        </pc:spChg>
        <pc:spChg chg="add mod">
          <ac:chgData name="Agarwal, Ritvika Agarwal" userId="b707b316-64a3-4610-910f-1bdb9cece827" providerId="ADAL" clId="{40E9E367-FD06-4E0A-88C6-B990B7860D72}" dt="2023-02-13T11:21:19.876" v="557" actId="164"/>
          <ac:spMkLst>
            <pc:docMk/>
            <pc:sldMk cId="3343091185" sldId="2145704809"/>
            <ac:spMk id="59" creationId="{99597C48-919A-47E4-9C4C-C907C7FA790C}"/>
          </ac:spMkLst>
        </pc:spChg>
        <pc:spChg chg="add mod">
          <ac:chgData name="Agarwal, Ritvika Agarwal" userId="b707b316-64a3-4610-910f-1bdb9cece827" providerId="ADAL" clId="{40E9E367-FD06-4E0A-88C6-B990B7860D72}" dt="2023-02-13T11:21:19.876" v="557" actId="164"/>
          <ac:spMkLst>
            <pc:docMk/>
            <pc:sldMk cId="3343091185" sldId="2145704809"/>
            <ac:spMk id="60" creationId="{5EC80335-DD63-4B06-B66C-9785D2E6BF47}"/>
          </ac:spMkLst>
        </pc:spChg>
        <pc:spChg chg="add mod">
          <ac:chgData name="Agarwal, Ritvika Agarwal" userId="b707b316-64a3-4610-910f-1bdb9cece827" providerId="ADAL" clId="{40E9E367-FD06-4E0A-88C6-B990B7860D72}" dt="2023-02-13T11:21:19.876" v="557" actId="164"/>
          <ac:spMkLst>
            <pc:docMk/>
            <pc:sldMk cId="3343091185" sldId="2145704809"/>
            <ac:spMk id="62" creationId="{F301655A-1854-43D8-88E7-24EAA2EDC450}"/>
          </ac:spMkLst>
        </pc:spChg>
        <pc:spChg chg="add mod">
          <ac:chgData name="Agarwal, Ritvika Agarwal" userId="b707b316-64a3-4610-910f-1bdb9cece827" providerId="ADAL" clId="{40E9E367-FD06-4E0A-88C6-B990B7860D72}" dt="2023-02-13T11:21:19.876" v="557" actId="164"/>
          <ac:spMkLst>
            <pc:docMk/>
            <pc:sldMk cId="3343091185" sldId="2145704809"/>
            <ac:spMk id="64" creationId="{D6042B9C-0325-4990-88D6-5B528C948196}"/>
          </ac:spMkLst>
        </pc:spChg>
        <pc:spChg chg="add mod">
          <ac:chgData name="Agarwal, Ritvika Agarwal" userId="b707b316-64a3-4610-910f-1bdb9cece827" providerId="ADAL" clId="{40E9E367-FD06-4E0A-88C6-B990B7860D72}" dt="2023-02-13T11:21:19.876" v="557" actId="164"/>
          <ac:spMkLst>
            <pc:docMk/>
            <pc:sldMk cId="3343091185" sldId="2145704809"/>
            <ac:spMk id="68" creationId="{FAF1A594-1898-413F-85AB-DEE14C3C8128}"/>
          </ac:spMkLst>
        </pc:spChg>
        <pc:spChg chg="add mod">
          <ac:chgData name="Agarwal, Ritvika Agarwal" userId="b707b316-64a3-4610-910f-1bdb9cece827" providerId="ADAL" clId="{40E9E367-FD06-4E0A-88C6-B990B7860D72}" dt="2023-02-13T11:21:19.876" v="557" actId="164"/>
          <ac:spMkLst>
            <pc:docMk/>
            <pc:sldMk cId="3343091185" sldId="2145704809"/>
            <ac:spMk id="70" creationId="{8F20F620-9BB2-4B5C-BE02-D9577DBEE2F0}"/>
          </ac:spMkLst>
        </pc:spChg>
        <pc:spChg chg="mod">
          <ac:chgData name="Agarwal, Ritvika Agarwal" userId="b707b316-64a3-4610-910f-1bdb9cece827" providerId="ADAL" clId="{40E9E367-FD06-4E0A-88C6-B990B7860D72}" dt="2023-02-13T11:25:50.323" v="700" actId="1076"/>
          <ac:spMkLst>
            <pc:docMk/>
            <pc:sldMk cId="3343091185" sldId="2145704809"/>
            <ac:spMk id="71" creationId="{FFACD434-4648-447E-B090-39C80638FBD0}"/>
          </ac:spMkLst>
        </pc:spChg>
        <pc:spChg chg="del mod">
          <ac:chgData name="Agarwal, Ritvika Agarwal" userId="b707b316-64a3-4610-910f-1bdb9cece827" providerId="ADAL" clId="{40E9E367-FD06-4E0A-88C6-B990B7860D72}" dt="2023-02-13T11:23:40.608" v="612" actId="478"/>
          <ac:spMkLst>
            <pc:docMk/>
            <pc:sldMk cId="3343091185" sldId="2145704809"/>
            <ac:spMk id="72" creationId="{959A553E-BFF6-4B6D-BF21-BDD65648B1D1}"/>
          </ac:spMkLst>
        </pc:spChg>
        <pc:spChg chg="del">
          <ac:chgData name="Agarwal, Ritvika Agarwal" userId="b707b316-64a3-4610-910f-1bdb9cece827" providerId="ADAL" clId="{40E9E367-FD06-4E0A-88C6-B990B7860D72}" dt="2023-02-13T11:23:49.158" v="614" actId="478"/>
          <ac:spMkLst>
            <pc:docMk/>
            <pc:sldMk cId="3343091185" sldId="2145704809"/>
            <ac:spMk id="74" creationId="{3B9C0875-D314-48CC-8B53-114E6C148642}"/>
          </ac:spMkLst>
        </pc:spChg>
        <pc:spChg chg="del">
          <ac:chgData name="Agarwal, Ritvika Agarwal" userId="b707b316-64a3-4610-910f-1bdb9cece827" providerId="ADAL" clId="{40E9E367-FD06-4E0A-88C6-B990B7860D72}" dt="2023-02-13T11:23:49.158" v="614" actId="478"/>
          <ac:spMkLst>
            <pc:docMk/>
            <pc:sldMk cId="3343091185" sldId="2145704809"/>
            <ac:spMk id="75" creationId="{03F03A2D-92B9-40EB-AFC8-D8756632D568}"/>
          </ac:spMkLst>
        </pc:spChg>
        <pc:spChg chg="add mod">
          <ac:chgData name="Agarwal, Ritvika Agarwal" userId="b707b316-64a3-4610-910f-1bdb9cece827" providerId="ADAL" clId="{40E9E367-FD06-4E0A-88C6-B990B7860D72}" dt="2023-02-13T11:21:19.876" v="557" actId="164"/>
          <ac:spMkLst>
            <pc:docMk/>
            <pc:sldMk cId="3343091185" sldId="2145704809"/>
            <ac:spMk id="76" creationId="{43972051-9D24-4454-8051-00523E7D0518}"/>
          </ac:spMkLst>
        </pc:spChg>
        <pc:spChg chg="add mod">
          <ac:chgData name="Agarwal, Ritvika Agarwal" userId="b707b316-64a3-4610-910f-1bdb9cece827" providerId="ADAL" clId="{40E9E367-FD06-4E0A-88C6-B990B7860D72}" dt="2023-02-13T11:23:13.891" v="597" actId="164"/>
          <ac:spMkLst>
            <pc:docMk/>
            <pc:sldMk cId="3343091185" sldId="2145704809"/>
            <ac:spMk id="77" creationId="{0B51FC12-5E7A-4050-AB84-523C60DF95F3}"/>
          </ac:spMkLst>
        </pc:spChg>
        <pc:spChg chg="add mod">
          <ac:chgData name="Agarwal, Ritvika Agarwal" userId="b707b316-64a3-4610-910f-1bdb9cece827" providerId="ADAL" clId="{40E9E367-FD06-4E0A-88C6-B990B7860D72}" dt="2023-02-13T11:29:01.840" v="802" actId="255"/>
          <ac:spMkLst>
            <pc:docMk/>
            <pc:sldMk cId="3343091185" sldId="2145704809"/>
            <ac:spMk id="79" creationId="{D450F68A-BE0C-44B4-8C3C-06E9D7514C4F}"/>
          </ac:spMkLst>
        </pc:spChg>
        <pc:spChg chg="add mod">
          <ac:chgData name="Agarwal, Ritvika Agarwal" userId="b707b316-64a3-4610-910f-1bdb9cece827" providerId="ADAL" clId="{40E9E367-FD06-4E0A-88C6-B990B7860D72}" dt="2023-02-13T11:28:56.507" v="801" actId="255"/>
          <ac:spMkLst>
            <pc:docMk/>
            <pc:sldMk cId="3343091185" sldId="2145704809"/>
            <ac:spMk id="80" creationId="{472FD817-6963-4D61-B4C1-D87CF823EEFE}"/>
          </ac:spMkLst>
        </pc:spChg>
        <pc:spChg chg="add mod">
          <ac:chgData name="Agarwal, Ritvika Agarwal" userId="b707b316-64a3-4610-910f-1bdb9cece827" providerId="ADAL" clId="{40E9E367-FD06-4E0A-88C6-B990B7860D72}" dt="2023-02-13T11:26:43.780" v="709" actId="1076"/>
          <ac:spMkLst>
            <pc:docMk/>
            <pc:sldMk cId="3343091185" sldId="2145704809"/>
            <ac:spMk id="81" creationId="{32003C1E-5168-451E-9D09-7F86B88F2DEE}"/>
          </ac:spMkLst>
        </pc:spChg>
        <pc:spChg chg="add mod">
          <ac:chgData name="Agarwal, Ritvika Agarwal" userId="b707b316-64a3-4610-910f-1bdb9cece827" providerId="ADAL" clId="{40E9E367-FD06-4E0A-88C6-B990B7860D72}" dt="2023-02-13T11:27:12.723" v="715" actId="1076"/>
          <ac:spMkLst>
            <pc:docMk/>
            <pc:sldMk cId="3343091185" sldId="2145704809"/>
            <ac:spMk id="82" creationId="{D01EE5C3-C048-41CB-8D67-83E37FE498FA}"/>
          </ac:spMkLst>
        </pc:spChg>
        <pc:spChg chg="add mod">
          <ac:chgData name="Agarwal, Ritvika Agarwal" userId="b707b316-64a3-4610-910f-1bdb9cece827" providerId="ADAL" clId="{40E9E367-FD06-4E0A-88C6-B990B7860D72}" dt="2023-02-13T11:27:51.316" v="721" actId="255"/>
          <ac:spMkLst>
            <pc:docMk/>
            <pc:sldMk cId="3343091185" sldId="2145704809"/>
            <ac:spMk id="86" creationId="{6D9451C7-4FF8-426F-9932-8A0DB34D5F3D}"/>
          </ac:spMkLst>
        </pc:spChg>
        <pc:spChg chg="add mod">
          <ac:chgData name="Agarwal, Ritvika Agarwal" userId="b707b316-64a3-4610-910f-1bdb9cece827" providerId="ADAL" clId="{40E9E367-FD06-4E0A-88C6-B990B7860D72}" dt="2023-02-13T11:26:24.389" v="706" actId="255"/>
          <ac:spMkLst>
            <pc:docMk/>
            <pc:sldMk cId="3343091185" sldId="2145704809"/>
            <ac:spMk id="87" creationId="{F74332F6-55D6-4010-A9C4-7D8EB893BD30}"/>
          </ac:spMkLst>
        </pc:spChg>
        <pc:spChg chg="del">
          <ac:chgData name="Agarwal, Ritvika Agarwal" userId="b707b316-64a3-4610-910f-1bdb9cece827" providerId="ADAL" clId="{40E9E367-FD06-4E0A-88C6-B990B7860D72}" dt="2023-02-13T11:23:46.170" v="613" actId="478"/>
          <ac:spMkLst>
            <pc:docMk/>
            <pc:sldMk cId="3343091185" sldId="2145704809"/>
            <ac:spMk id="88" creationId="{CA853D01-D23E-4B8E-88CF-AD96939A2756}"/>
          </ac:spMkLst>
        </pc:spChg>
        <pc:spChg chg="del">
          <ac:chgData name="Agarwal, Ritvika Agarwal" userId="b707b316-64a3-4610-910f-1bdb9cece827" providerId="ADAL" clId="{40E9E367-FD06-4E0A-88C6-B990B7860D72}" dt="2023-02-13T11:23:46.170" v="613" actId="478"/>
          <ac:spMkLst>
            <pc:docMk/>
            <pc:sldMk cId="3343091185" sldId="2145704809"/>
            <ac:spMk id="89" creationId="{4E4B8990-7E18-48EA-A280-043D0FDDEBCE}"/>
          </ac:spMkLst>
        </pc:spChg>
        <pc:spChg chg="del">
          <ac:chgData name="Agarwal, Ritvika Agarwal" userId="b707b316-64a3-4610-910f-1bdb9cece827" providerId="ADAL" clId="{40E9E367-FD06-4E0A-88C6-B990B7860D72}" dt="2023-02-13T11:23:38.721" v="611" actId="478"/>
          <ac:spMkLst>
            <pc:docMk/>
            <pc:sldMk cId="3343091185" sldId="2145704809"/>
            <ac:spMk id="93" creationId="{1E5BD2FA-0FE1-4937-91D9-D18D8F2D57B2}"/>
          </ac:spMkLst>
        </pc:spChg>
        <pc:spChg chg="del">
          <ac:chgData name="Agarwal, Ritvika Agarwal" userId="b707b316-64a3-4610-910f-1bdb9cece827" providerId="ADAL" clId="{40E9E367-FD06-4E0A-88C6-B990B7860D72}" dt="2023-02-13T11:23:29.741" v="609" actId="478"/>
          <ac:spMkLst>
            <pc:docMk/>
            <pc:sldMk cId="3343091185" sldId="2145704809"/>
            <ac:spMk id="94" creationId="{C41363D8-1225-4362-8C4D-0097447A9A49}"/>
          </ac:spMkLst>
        </pc:spChg>
        <pc:spChg chg="del">
          <ac:chgData name="Agarwal, Ritvika Agarwal" userId="b707b316-64a3-4610-910f-1bdb9cece827" providerId="ADAL" clId="{40E9E367-FD06-4E0A-88C6-B990B7860D72}" dt="2023-02-13T11:23:46.170" v="613" actId="478"/>
          <ac:spMkLst>
            <pc:docMk/>
            <pc:sldMk cId="3343091185" sldId="2145704809"/>
            <ac:spMk id="95" creationId="{9E0125B1-A656-44CB-84F8-B27771E66924}"/>
          </ac:spMkLst>
        </pc:spChg>
        <pc:spChg chg="del">
          <ac:chgData name="Agarwal, Ritvika Agarwal" userId="b707b316-64a3-4610-910f-1bdb9cece827" providerId="ADAL" clId="{40E9E367-FD06-4E0A-88C6-B990B7860D72}" dt="2023-02-13T11:23:46.170" v="613" actId="478"/>
          <ac:spMkLst>
            <pc:docMk/>
            <pc:sldMk cId="3343091185" sldId="2145704809"/>
            <ac:spMk id="96" creationId="{46057082-5906-4ADC-A137-258D5B45D203}"/>
          </ac:spMkLst>
        </pc:spChg>
        <pc:spChg chg="mod">
          <ac:chgData name="Agarwal, Ritvika Agarwal" userId="b707b316-64a3-4610-910f-1bdb9cece827" providerId="ADAL" clId="{40E9E367-FD06-4E0A-88C6-B990B7860D72}" dt="2023-02-13T11:23:13.891" v="597" actId="164"/>
          <ac:spMkLst>
            <pc:docMk/>
            <pc:sldMk cId="3343091185" sldId="2145704809"/>
            <ac:spMk id="97" creationId="{F086843B-5F96-45C9-A179-8D604CBE7BD0}"/>
          </ac:spMkLst>
        </pc:spChg>
        <pc:spChg chg="mod">
          <ac:chgData name="Agarwal, Ritvika Agarwal" userId="b707b316-64a3-4610-910f-1bdb9cece827" providerId="ADAL" clId="{40E9E367-FD06-4E0A-88C6-B990B7860D72}" dt="2023-02-13T11:25:13.249" v="676" actId="1038"/>
          <ac:spMkLst>
            <pc:docMk/>
            <pc:sldMk cId="3343091185" sldId="2145704809"/>
            <ac:spMk id="99" creationId="{3A932941-6A13-4614-8BDB-1886ECC17676}"/>
          </ac:spMkLst>
        </pc:spChg>
        <pc:spChg chg="add mod">
          <ac:chgData name="Agarwal, Ritvika Agarwal" userId="b707b316-64a3-4610-910f-1bdb9cece827" providerId="ADAL" clId="{40E9E367-FD06-4E0A-88C6-B990B7860D72}" dt="2023-02-13T11:29:36.907" v="823" actId="1076"/>
          <ac:spMkLst>
            <pc:docMk/>
            <pc:sldMk cId="3343091185" sldId="2145704809"/>
            <ac:spMk id="100" creationId="{D6384C96-4157-4733-8F6B-D566CEEE5125}"/>
          </ac:spMkLst>
        </pc:spChg>
        <pc:spChg chg="add mod">
          <ac:chgData name="Agarwal, Ritvika Agarwal" userId="b707b316-64a3-4610-910f-1bdb9cece827" providerId="ADAL" clId="{40E9E367-FD06-4E0A-88C6-B990B7860D72}" dt="2023-02-13T11:27:34.493" v="719" actId="1076"/>
          <ac:spMkLst>
            <pc:docMk/>
            <pc:sldMk cId="3343091185" sldId="2145704809"/>
            <ac:spMk id="101" creationId="{E8FEF5DD-58B4-40FA-A8EC-A8623DAAAE16}"/>
          </ac:spMkLst>
        </pc:spChg>
        <pc:grpChg chg="add del mod">
          <ac:chgData name="Agarwal, Ritvika Agarwal" userId="b707b316-64a3-4610-910f-1bdb9cece827" providerId="ADAL" clId="{40E9E367-FD06-4E0A-88C6-B990B7860D72}" dt="2023-02-13T11:23:02.639" v="594" actId="478"/>
          <ac:grpSpMkLst>
            <pc:docMk/>
            <pc:sldMk cId="3343091185" sldId="2145704809"/>
            <ac:grpSpMk id="2" creationId="{6E67E8E1-230E-4E59-9B70-4B184358BB64}"/>
          </ac:grpSpMkLst>
        </pc:grpChg>
        <pc:grpChg chg="add mod">
          <ac:chgData name="Agarwal, Ritvika Agarwal" userId="b707b316-64a3-4610-910f-1bdb9cece827" providerId="ADAL" clId="{40E9E367-FD06-4E0A-88C6-B990B7860D72}" dt="2023-02-13T11:21:45.276" v="578" actId="164"/>
          <ac:grpSpMkLst>
            <pc:docMk/>
            <pc:sldMk cId="3343091185" sldId="2145704809"/>
            <ac:grpSpMk id="3" creationId="{C8FC20EE-4695-4DD8-AC09-2AC0BD9757EC}"/>
          </ac:grpSpMkLst>
        </pc:grpChg>
        <pc:grpChg chg="add mod">
          <ac:chgData name="Agarwal, Ritvika Agarwal" userId="b707b316-64a3-4610-910f-1bdb9cece827" providerId="ADAL" clId="{40E9E367-FD06-4E0A-88C6-B990B7860D72}" dt="2023-02-13T12:03:46.824" v="1134" actId="1036"/>
          <ac:grpSpMkLst>
            <pc:docMk/>
            <pc:sldMk cId="3343091185" sldId="2145704809"/>
            <ac:grpSpMk id="5" creationId="{34CDA17D-C3AC-43EA-8960-71A16955799F}"/>
          </ac:grpSpMkLst>
        </pc:grpChg>
        <pc:grpChg chg="add mod">
          <ac:chgData name="Agarwal, Ritvika Agarwal" userId="b707b316-64a3-4610-910f-1bdb9cece827" providerId="ADAL" clId="{40E9E367-FD06-4E0A-88C6-B990B7860D72}" dt="2023-02-13T11:24:54.005" v="634" actId="1036"/>
          <ac:grpSpMkLst>
            <pc:docMk/>
            <pc:sldMk cId="3343091185" sldId="2145704809"/>
            <ac:grpSpMk id="6" creationId="{0112693C-7E2E-445C-A1D6-6F482FCE47E4}"/>
          </ac:grpSpMkLst>
        </pc:grpChg>
        <pc:picChg chg="add mod">
          <ac:chgData name="Agarwal, Ritvika Agarwal" userId="b707b316-64a3-4610-910f-1bdb9cece827" providerId="ADAL" clId="{40E9E367-FD06-4E0A-88C6-B990B7860D72}" dt="2023-02-13T11:21:19.876" v="557" actId="164"/>
          <ac:picMkLst>
            <pc:docMk/>
            <pc:sldMk cId="3343091185" sldId="2145704809"/>
            <ac:picMk id="57" creationId="{00E49E24-50B6-4761-814E-72B00BA8DF28}"/>
          </ac:picMkLst>
        </pc:picChg>
        <pc:picChg chg="add mod">
          <ac:chgData name="Agarwal, Ritvika Agarwal" userId="b707b316-64a3-4610-910f-1bdb9cece827" providerId="ADAL" clId="{40E9E367-FD06-4E0A-88C6-B990B7860D72}" dt="2023-02-13T11:21:19.876" v="557" actId="164"/>
          <ac:picMkLst>
            <pc:docMk/>
            <pc:sldMk cId="3343091185" sldId="2145704809"/>
            <ac:picMk id="65" creationId="{9F9EA369-C0F2-4331-910E-C3F503D38989}"/>
          </ac:picMkLst>
        </pc:picChg>
        <pc:picChg chg="add mod">
          <ac:chgData name="Agarwal, Ritvika Agarwal" userId="b707b316-64a3-4610-910f-1bdb9cece827" providerId="ADAL" clId="{40E9E367-FD06-4E0A-88C6-B990B7860D72}" dt="2023-02-13T11:21:19.876" v="557" actId="164"/>
          <ac:picMkLst>
            <pc:docMk/>
            <pc:sldMk cId="3343091185" sldId="2145704809"/>
            <ac:picMk id="66" creationId="{37C49BA4-4C65-4970-8027-6F9699A9867D}"/>
          </ac:picMkLst>
        </pc:picChg>
        <pc:picChg chg="add mod">
          <ac:chgData name="Agarwal, Ritvika Agarwal" userId="b707b316-64a3-4610-910f-1bdb9cece827" providerId="ADAL" clId="{40E9E367-FD06-4E0A-88C6-B990B7860D72}" dt="2023-02-13T11:21:19.876" v="557" actId="164"/>
          <ac:picMkLst>
            <pc:docMk/>
            <pc:sldMk cId="3343091185" sldId="2145704809"/>
            <ac:picMk id="67" creationId="{2F39D7D6-DE0F-4816-9721-5198588C5EF9}"/>
          </ac:picMkLst>
        </pc:picChg>
        <pc:picChg chg="del">
          <ac:chgData name="Agarwal, Ritvika Agarwal" userId="b707b316-64a3-4610-910f-1bdb9cece827" providerId="ADAL" clId="{40E9E367-FD06-4E0A-88C6-B990B7860D72}" dt="2023-02-13T11:23:49.158" v="614" actId="478"/>
          <ac:picMkLst>
            <pc:docMk/>
            <pc:sldMk cId="3343091185" sldId="2145704809"/>
            <ac:picMk id="73" creationId="{9A026925-3F58-40F1-89D7-14945B0A4C48}"/>
          </ac:picMkLst>
        </pc:picChg>
        <pc:picChg chg="add mod">
          <ac:chgData name="Agarwal, Ritvika Agarwal" userId="b707b316-64a3-4610-910f-1bdb9cece827" providerId="ADAL" clId="{40E9E367-FD06-4E0A-88C6-B990B7860D72}" dt="2023-02-13T12:02:26.971" v="1119" actId="207"/>
          <ac:picMkLst>
            <pc:docMk/>
            <pc:sldMk cId="3343091185" sldId="2145704809"/>
            <ac:picMk id="78" creationId="{31FE1D45-8A3A-430B-A3D6-5E265F7CBAD4}"/>
          </ac:picMkLst>
        </pc:picChg>
        <pc:picChg chg="add mod">
          <ac:chgData name="Agarwal, Ritvika Agarwal" userId="b707b316-64a3-4610-910f-1bdb9cece827" providerId="ADAL" clId="{40E9E367-FD06-4E0A-88C6-B990B7860D72}" dt="2023-02-13T12:02:21.087" v="1117" actId="207"/>
          <ac:picMkLst>
            <pc:docMk/>
            <pc:sldMk cId="3343091185" sldId="2145704809"/>
            <ac:picMk id="83" creationId="{FEA585B9-CA42-4286-B4C9-C971B181FBB4}"/>
          </ac:picMkLst>
        </pc:picChg>
        <pc:picChg chg="add mod">
          <ac:chgData name="Agarwal, Ritvika Agarwal" userId="b707b316-64a3-4610-910f-1bdb9cece827" providerId="ADAL" clId="{40E9E367-FD06-4E0A-88C6-B990B7860D72}" dt="2023-02-13T12:02:24.064" v="1118" actId="207"/>
          <ac:picMkLst>
            <pc:docMk/>
            <pc:sldMk cId="3343091185" sldId="2145704809"/>
            <ac:picMk id="84" creationId="{5B1A1154-9618-4F1E-AA8F-F1FBA9906C1F}"/>
          </ac:picMkLst>
        </pc:picChg>
        <pc:picChg chg="add mod">
          <ac:chgData name="Agarwal, Ritvika Agarwal" userId="b707b316-64a3-4610-910f-1bdb9cece827" providerId="ADAL" clId="{40E9E367-FD06-4E0A-88C6-B990B7860D72}" dt="2023-02-13T12:02:17.670" v="1116" actId="207"/>
          <ac:picMkLst>
            <pc:docMk/>
            <pc:sldMk cId="3343091185" sldId="2145704809"/>
            <ac:picMk id="85" creationId="{7806CEAE-EC38-450C-94C2-A13B8652A506}"/>
          </ac:picMkLst>
        </pc:picChg>
        <pc:picChg chg="del">
          <ac:chgData name="Agarwal, Ritvika Agarwal" userId="b707b316-64a3-4610-910f-1bdb9cece827" providerId="ADAL" clId="{40E9E367-FD06-4E0A-88C6-B990B7860D72}" dt="2023-02-13T11:23:49.158" v="614" actId="478"/>
          <ac:picMkLst>
            <pc:docMk/>
            <pc:sldMk cId="3343091185" sldId="2145704809"/>
            <ac:picMk id="90" creationId="{6F2D431F-EB7F-4C0C-A383-FBCB4C219BC0}"/>
          </ac:picMkLst>
        </pc:picChg>
        <pc:picChg chg="del">
          <ac:chgData name="Agarwal, Ritvika Agarwal" userId="b707b316-64a3-4610-910f-1bdb9cece827" providerId="ADAL" clId="{40E9E367-FD06-4E0A-88C6-B990B7860D72}" dt="2023-02-13T11:23:49.158" v="614" actId="478"/>
          <ac:picMkLst>
            <pc:docMk/>
            <pc:sldMk cId="3343091185" sldId="2145704809"/>
            <ac:picMk id="91" creationId="{81C70A01-EF1B-42D9-B535-7F60EEB48A26}"/>
          </ac:picMkLst>
        </pc:picChg>
        <pc:picChg chg="del">
          <ac:chgData name="Agarwal, Ritvika Agarwal" userId="b707b316-64a3-4610-910f-1bdb9cece827" providerId="ADAL" clId="{40E9E367-FD06-4E0A-88C6-B990B7860D72}" dt="2023-02-13T11:23:33.865" v="610" actId="478"/>
          <ac:picMkLst>
            <pc:docMk/>
            <pc:sldMk cId="3343091185" sldId="2145704809"/>
            <ac:picMk id="92" creationId="{0F83DCBC-E783-429D-BE5D-11660E73C8A7}"/>
          </ac:picMkLst>
        </pc:picChg>
        <pc:cxnChg chg="mod">
          <ac:chgData name="Agarwal, Ritvika Agarwal" userId="b707b316-64a3-4610-910f-1bdb9cece827" providerId="ADAL" clId="{40E9E367-FD06-4E0A-88C6-B990B7860D72}" dt="2023-02-13T11:21:53.769" v="579" actId="164"/>
          <ac:cxnSpMkLst>
            <pc:docMk/>
            <pc:sldMk cId="3343091185" sldId="2145704809"/>
            <ac:cxnSpMk id="42" creationId="{D4BE5B69-142E-433A-BF88-164810027C3B}"/>
          </ac:cxnSpMkLst>
        </pc:cxnChg>
        <pc:cxnChg chg="mod">
          <ac:chgData name="Agarwal, Ritvika Agarwal" userId="b707b316-64a3-4610-910f-1bdb9cece827" providerId="ADAL" clId="{40E9E367-FD06-4E0A-88C6-B990B7860D72}" dt="2023-02-13T11:21:53.769" v="579" actId="164"/>
          <ac:cxnSpMkLst>
            <pc:docMk/>
            <pc:sldMk cId="3343091185" sldId="2145704809"/>
            <ac:cxnSpMk id="43" creationId="{07F7B3C9-4469-454F-AEC8-751469694940}"/>
          </ac:cxnSpMkLst>
        </pc:cxnChg>
        <pc:cxnChg chg="mod">
          <ac:chgData name="Agarwal, Ritvika Agarwal" userId="b707b316-64a3-4610-910f-1bdb9cece827" providerId="ADAL" clId="{40E9E367-FD06-4E0A-88C6-B990B7860D72}" dt="2023-02-13T11:21:53.769" v="579" actId="164"/>
          <ac:cxnSpMkLst>
            <pc:docMk/>
            <pc:sldMk cId="3343091185" sldId="2145704809"/>
            <ac:cxnSpMk id="44" creationId="{89CDC4CD-B0AD-4212-8FBA-42CB7FBD4ED5}"/>
          </ac:cxnSpMkLst>
        </pc:cxnChg>
        <pc:cxnChg chg="mod">
          <ac:chgData name="Agarwal, Ritvika Agarwal" userId="b707b316-64a3-4610-910f-1bdb9cece827" providerId="ADAL" clId="{40E9E367-FD06-4E0A-88C6-B990B7860D72}" dt="2023-02-13T11:21:53.769" v="579" actId="164"/>
          <ac:cxnSpMkLst>
            <pc:docMk/>
            <pc:sldMk cId="3343091185" sldId="2145704809"/>
            <ac:cxnSpMk id="49" creationId="{E933BCF3-0FB4-40A7-8202-DA48485D2BB5}"/>
          </ac:cxnSpMkLst>
        </pc:cxnChg>
        <pc:cxnChg chg="mod">
          <ac:chgData name="Agarwal, Ritvika Agarwal" userId="b707b316-64a3-4610-910f-1bdb9cece827" providerId="ADAL" clId="{40E9E367-FD06-4E0A-88C6-B990B7860D72}" dt="2023-02-13T11:21:53.769" v="579" actId="164"/>
          <ac:cxnSpMkLst>
            <pc:docMk/>
            <pc:sldMk cId="3343091185" sldId="2145704809"/>
            <ac:cxnSpMk id="53" creationId="{E8A7C574-EA05-4891-BE34-69ADB344193E}"/>
          </ac:cxnSpMkLst>
        </pc:cxnChg>
        <pc:cxnChg chg="mod">
          <ac:chgData name="Agarwal, Ritvika Agarwal" userId="b707b316-64a3-4610-910f-1bdb9cece827" providerId="ADAL" clId="{40E9E367-FD06-4E0A-88C6-B990B7860D72}" dt="2023-02-13T11:21:53.769" v="579" actId="164"/>
          <ac:cxnSpMkLst>
            <pc:docMk/>
            <pc:sldMk cId="3343091185" sldId="2145704809"/>
            <ac:cxnSpMk id="54" creationId="{310DD7CF-D565-4945-AE3A-B7644A7B0E1C}"/>
          </ac:cxnSpMkLst>
        </pc:cxnChg>
        <pc:cxnChg chg="add mod">
          <ac:chgData name="Agarwal, Ritvika Agarwal" userId="b707b316-64a3-4610-910f-1bdb9cece827" providerId="ADAL" clId="{40E9E367-FD06-4E0A-88C6-B990B7860D72}" dt="2023-02-13T11:25:44.068" v="699" actId="14100"/>
          <ac:cxnSpMkLst>
            <pc:docMk/>
            <pc:sldMk cId="3343091185" sldId="2145704809"/>
            <ac:cxnSpMk id="55" creationId="{D15142FF-C02E-4758-A40C-172D7FB3EABD}"/>
          </ac:cxnSpMkLst>
        </pc:cxnChg>
        <pc:cxnChg chg="mod">
          <ac:chgData name="Agarwal, Ritvika Agarwal" userId="b707b316-64a3-4610-910f-1bdb9cece827" providerId="ADAL" clId="{40E9E367-FD06-4E0A-88C6-B990B7860D72}" dt="2023-02-13T11:21:53.769" v="579" actId="164"/>
          <ac:cxnSpMkLst>
            <pc:docMk/>
            <pc:sldMk cId="3343091185" sldId="2145704809"/>
            <ac:cxnSpMk id="61" creationId="{97CC6E29-DBBE-4C7C-B2C2-C73425F12699}"/>
          </ac:cxnSpMkLst>
        </pc:cxnChg>
        <pc:cxnChg chg="mod">
          <ac:chgData name="Agarwal, Ritvika Agarwal" userId="b707b316-64a3-4610-910f-1bdb9cece827" providerId="ADAL" clId="{40E9E367-FD06-4E0A-88C6-B990B7860D72}" dt="2023-02-13T11:21:53.769" v="579" actId="164"/>
          <ac:cxnSpMkLst>
            <pc:docMk/>
            <pc:sldMk cId="3343091185" sldId="2145704809"/>
            <ac:cxnSpMk id="63" creationId="{FAD70FC8-E8E8-4FCB-B981-5F07C13358D3}"/>
          </ac:cxnSpMkLst>
        </pc:cxnChg>
        <pc:cxnChg chg="del">
          <ac:chgData name="Agarwal, Ritvika Agarwal" userId="b707b316-64a3-4610-910f-1bdb9cece827" providerId="ADAL" clId="{40E9E367-FD06-4E0A-88C6-B990B7860D72}" dt="2023-02-13T11:20:04.657" v="537" actId="478"/>
          <ac:cxnSpMkLst>
            <pc:docMk/>
            <pc:sldMk cId="3343091185" sldId="2145704809"/>
            <ac:cxnSpMk id="69" creationId="{D2017D82-4408-4EDA-AD1E-5FFBD1FBC4AC}"/>
          </ac:cxnSpMkLst>
        </pc:cxnChg>
        <pc:cxnChg chg="mod">
          <ac:chgData name="Agarwal, Ritvika Agarwal" userId="b707b316-64a3-4610-910f-1bdb9cece827" providerId="ADAL" clId="{40E9E367-FD06-4E0A-88C6-B990B7860D72}" dt="2023-02-13T11:25:02.168" v="650" actId="1036"/>
          <ac:cxnSpMkLst>
            <pc:docMk/>
            <pc:sldMk cId="3343091185" sldId="2145704809"/>
            <ac:cxnSpMk id="98" creationId="{6E1FB582-3A10-4FEE-B763-CA68EEC1CECA}"/>
          </ac:cxnSpMkLst>
        </pc:cxnChg>
      </pc:sldChg>
      <pc:sldChg chg="addSp delSp modSp mod">
        <pc:chgData name="Agarwal, Ritvika Agarwal" userId="b707b316-64a3-4610-910f-1bdb9cece827" providerId="ADAL" clId="{40E9E367-FD06-4E0A-88C6-B990B7860D72}" dt="2023-02-13T11:19:19.134" v="532"/>
        <pc:sldMkLst>
          <pc:docMk/>
          <pc:sldMk cId="3402747004" sldId="2147468777"/>
        </pc:sldMkLst>
        <pc:spChg chg="del mod">
          <ac:chgData name="Agarwal, Ritvika Agarwal" userId="b707b316-64a3-4610-910f-1bdb9cece827" providerId="ADAL" clId="{40E9E367-FD06-4E0A-88C6-B990B7860D72}" dt="2023-02-13T11:14:25.576" v="489" actId="478"/>
          <ac:spMkLst>
            <pc:docMk/>
            <pc:sldMk cId="3402747004" sldId="2147468777"/>
            <ac:spMk id="5" creationId="{3C25657C-19D4-4B93-B96C-DACEDD67D364}"/>
          </ac:spMkLst>
        </pc:spChg>
        <pc:spChg chg="mod">
          <ac:chgData name="Agarwal, Ritvika Agarwal" userId="b707b316-64a3-4610-910f-1bdb9cece827" providerId="ADAL" clId="{40E9E367-FD06-4E0A-88C6-B990B7860D72}" dt="2023-02-13T11:06:30.045" v="418" actId="1037"/>
          <ac:spMkLst>
            <pc:docMk/>
            <pc:sldMk cId="3402747004" sldId="2147468777"/>
            <ac:spMk id="6" creationId="{8EFD8275-551B-4DF5-A435-C98C676C2BE1}"/>
          </ac:spMkLst>
        </pc:spChg>
        <pc:spChg chg="del mod">
          <ac:chgData name="Agarwal, Ritvika Agarwal" userId="b707b316-64a3-4610-910f-1bdb9cece827" providerId="ADAL" clId="{40E9E367-FD06-4E0A-88C6-B990B7860D72}" dt="2023-02-13T11:06:22.152" v="378" actId="478"/>
          <ac:spMkLst>
            <pc:docMk/>
            <pc:sldMk cId="3402747004" sldId="2147468777"/>
            <ac:spMk id="14" creationId="{06B472A5-B2A4-4C62-AC1F-AA25F9538847}"/>
          </ac:spMkLst>
        </pc:spChg>
        <pc:spChg chg="mod">
          <ac:chgData name="Agarwal, Ritvika Agarwal" userId="b707b316-64a3-4610-910f-1bdb9cece827" providerId="ADAL" clId="{40E9E367-FD06-4E0A-88C6-B990B7860D72}" dt="2023-02-13T11:14:32.679" v="490" actId="164"/>
          <ac:spMkLst>
            <pc:docMk/>
            <pc:sldMk cId="3402747004" sldId="2147468777"/>
            <ac:spMk id="15" creationId="{104410D0-4AE0-454C-A6F7-CDB68A508167}"/>
          </ac:spMkLst>
        </pc:spChg>
        <pc:spChg chg="mod">
          <ac:chgData name="Agarwal, Ritvika Agarwal" userId="b707b316-64a3-4610-910f-1bdb9cece827" providerId="ADAL" clId="{40E9E367-FD06-4E0A-88C6-B990B7860D72}" dt="2023-02-13T11:14:32.679" v="490" actId="164"/>
          <ac:spMkLst>
            <pc:docMk/>
            <pc:sldMk cId="3402747004" sldId="2147468777"/>
            <ac:spMk id="16" creationId="{6AA33DEE-56A5-42E2-A28D-A87403F610A5}"/>
          </ac:spMkLst>
        </pc:spChg>
        <pc:spChg chg="mod">
          <ac:chgData name="Agarwal, Ritvika Agarwal" userId="b707b316-64a3-4610-910f-1bdb9cece827" providerId="ADAL" clId="{40E9E367-FD06-4E0A-88C6-B990B7860D72}" dt="2023-02-13T11:14:32.679" v="490" actId="164"/>
          <ac:spMkLst>
            <pc:docMk/>
            <pc:sldMk cId="3402747004" sldId="2147468777"/>
            <ac:spMk id="20" creationId="{8F48433B-BEF5-4D8C-B08D-EF7AB1A89D27}"/>
          </ac:spMkLst>
        </pc:spChg>
        <pc:spChg chg="mod">
          <ac:chgData name="Agarwal, Ritvika Agarwal" userId="b707b316-64a3-4610-910f-1bdb9cece827" providerId="ADAL" clId="{40E9E367-FD06-4E0A-88C6-B990B7860D72}" dt="2023-02-13T11:14:32.679" v="490" actId="164"/>
          <ac:spMkLst>
            <pc:docMk/>
            <pc:sldMk cId="3402747004" sldId="2147468777"/>
            <ac:spMk id="22" creationId="{8E790B94-BA74-47F8-86A6-AE0C7E36CBC1}"/>
          </ac:spMkLst>
        </pc:spChg>
        <pc:spChg chg="del">
          <ac:chgData name="Agarwal, Ritvika Agarwal" userId="b707b316-64a3-4610-910f-1bdb9cece827" providerId="ADAL" clId="{40E9E367-FD06-4E0A-88C6-B990B7860D72}" dt="2023-02-13T11:14:19.560" v="487" actId="478"/>
          <ac:spMkLst>
            <pc:docMk/>
            <pc:sldMk cId="3402747004" sldId="2147468777"/>
            <ac:spMk id="23" creationId="{1137EE6B-8AC6-42A6-8A58-9BD3FE6A0C85}"/>
          </ac:spMkLst>
        </pc:spChg>
        <pc:spChg chg="mod">
          <ac:chgData name="Agarwal, Ritvika Agarwal" userId="b707b316-64a3-4610-910f-1bdb9cece827" providerId="ADAL" clId="{40E9E367-FD06-4E0A-88C6-B990B7860D72}" dt="2023-02-13T11:06:38.713" v="419" actId="1076"/>
          <ac:spMkLst>
            <pc:docMk/>
            <pc:sldMk cId="3402747004" sldId="2147468777"/>
            <ac:spMk id="24" creationId="{BD60C90D-EA3F-45BA-9F79-A10DA4CED680}"/>
          </ac:spMkLst>
        </pc:spChg>
        <pc:spChg chg="mod">
          <ac:chgData name="Agarwal, Ritvika Agarwal" userId="b707b316-64a3-4610-910f-1bdb9cece827" providerId="ADAL" clId="{40E9E367-FD06-4E0A-88C6-B990B7860D72}" dt="2023-02-13T11:06:50.812" v="420" actId="164"/>
          <ac:spMkLst>
            <pc:docMk/>
            <pc:sldMk cId="3402747004" sldId="2147468777"/>
            <ac:spMk id="25" creationId="{CD1E48D2-4AD5-4DF1-B86A-8C206BA3736A}"/>
          </ac:spMkLst>
        </pc:spChg>
        <pc:spChg chg="mod">
          <ac:chgData name="Agarwal, Ritvika Agarwal" userId="b707b316-64a3-4610-910f-1bdb9cece827" providerId="ADAL" clId="{40E9E367-FD06-4E0A-88C6-B990B7860D72}" dt="2023-02-13T11:14:32.679" v="490" actId="164"/>
          <ac:spMkLst>
            <pc:docMk/>
            <pc:sldMk cId="3402747004" sldId="2147468777"/>
            <ac:spMk id="29" creationId="{0DDA095B-509E-4D89-AAB0-F36C2FB1926B}"/>
          </ac:spMkLst>
        </pc:spChg>
        <pc:spChg chg="mod">
          <ac:chgData name="Agarwal, Ritvika Agarwal" userId="b707b316-64a3-4610-910f-1bdb9cece827" providerId="ADAL" clId="{40E9E367-FD06-4E0A-88C6-B990B7860D72}" dt="2023-02-13T11:14:32.679" v="490" actId="164"/>
          <ac:spMkLst>
            <pc:docMk/>
            <pc:sldMk cId="3402747004" sldId="2147468777"/>
            <ac:spMk id="30" creationId="{58A80C69-FC9B-4D9A-A34C-E00FACA366BC}"/>
          </ac:spMkLst>
        </pc:spChg>
        <pc:spChg chg="mod">
          <ac:chgData name="Agarwal, Ritvika Agarwal" userId="b707b316-64a3-4610-910f-1bdb9cece827" providerId="ADAL" clId="{40E9E367-FD06-4E0A-88C6-B990B7860D72}" dt="2023-02-13T11:14:32.679" v="490" actId="164"/>
          <ac:spMkLst>
            <pc:docMk/>
            <pc:sldMk cId="3402747004" sldId="2147468777"/>
            <ac:spMk id="31" creationId="{31C7DC12-8487-430D-B93E-F1E74FFB1AC1}"/>
          </ac:spMkLst>
        </pc:spChg>
        <pc:spChg chg="mod">
          <ac:chgData name="Agarwal, Ritvika Agarwal" userId="b707b316-64a3-4610-910f-1bdb9cece827" providerId="ADAL" clId="{40E9E367-FD06-4E0A-88C6-B990B7860D72}" dt="2023-02-13T11:14:32.679" v="490" actId="164"/>
          <ac:spMkLst>
            <pc:docMk/>
            <pc:sldMk cId="3402747004" sldId="2147468777"/>
            <ac:spMk id="32" creationId="{73B71080-9F91-40A7-A7C6-A42B6683B9B1}"/>
          </ac:spMkLst>
        </pc:spChg>
        <pc:spChg chg="mod">
          <ac:chgData name="Agarwal, Ritvika Agarwal" userId="b707b316-64a3-4610-910f-1bdb9cece827" providerId="ADAL" clId="{40E9E367-FD06-4E0A-88C6-B990B7860D72}" dt="2023-02-13T11:14:32.679" v="490" actId="164"/>
          <ac:spMkLst>
            <pc:docMk/>
            <pc:sldMk cId="3402747004" sldId="2147468777"/>
            <ac:spMk id="34" creationId="{83459503-4B7F-4B57-8652-C43855BF5F46}"/>
          </ac:spMkLst>
        </pc:spChg>
        <pc:spChg chg="mod">
          <ac:chgData name="Agarwal, Ritvika Agarwal" userId="b707b316-64a3-4610-910f-1bdb9cece827" providerId="ADAL" clId="{40E9E367-FD06-4E0A-88C6-B990B7860D72}" dt="2023-02-13T11:06:50.812" v="420" actId="164"/>
          <ac:spMkLst>
            <pc:docMk/>
            <pc:sldMk cId="3402747004" sldId="2147468777"/>
            <ac:spMk id="45" creationId="{74E95FE3-565D-4748-A702-703D8B299AEF}"/>
          </ac:spMkLst>
        </pc:spChg>
        <pc:spChg chg="mod">
          <ac:chgData name="Agarwal, Ritvika Agarwal" userId="b707b316-64a3-4610-910f-1bdb9cece827" providerId="ADAL" clId="{40E9E367-FD06-4E0A-88C6-B990B7860D72}" dt="2023-02-13T11:06:50.812" v="420" actId="164"/>
          <ac:spMkLst>
            <pc:docMk/>
            <pc:sldMk cId="3402747004" sldId="2147468777"/>
            <ac:spMk id="46" creationId="{7BC4AD93-81EB-4304-B0EB-785934AC7E6E}"/>
          </ac:spMkLst>
        </pc:spChg>
        <pc:spChg chg="mod">
          <ac:chgData name="Agarwal, Ritvika Agarwal" userId="b707b316-64a3-4610-910f-1bdb9cece827" providerId="ADAL" clId="{40E9E367-FD06-4E0A-88C6-B990B7860D72}" dt="2023-02-13T11:06:50.812" v="420" actId="164"/>
          <ac:spMkLst>
            <pc:docMk/>
            <pc:sldMk cId="3402747004" sldId="2147468777"/>
            <ac:spMk id="47" creationId="{A5C914B1-7BDE-448F-A05A-F7C271A93AF2}"/>
          </ac:spMkLst>
        </pc:spChg>
        <pc:spChg chg="mod">
          <ac:chgData name="Agarwal, Ritvika Agarwal" userId="b707b316-64a3-4610-910f-1bdb9cece827" providerId="ADAL" clId="{40E9E367-FD06-4E0A-88C6-B990B7860D72}" dt="2023-02-13T11:06:50.812" v="420" actId="164"/>
          <ac:spMkLst>
            <pc:docMk/>
            <pc:sldMk cId="3402747004" sldId="2147468777"/>
            <ac:spMk id="48" creationId="{F0847CBC-89EC-4D34-B0A7-5120DF096433}"/>
          </ac:spMkLst>
        </pc:spChg>
        <pc:grpChg chg="add mod">
          <ac:chgData name="Agarwal, Ritvika Agarwal" userId="b707b316-64a3-4610-910f-1bdb9cece827" providerId="ADAL" clId="{40E9E367-FD06-4E0A-88C6-B990B7860D72}" dt="2023-02-13T11:14:32.679" v="490" actId="164"/>
          <ac:grpSpMkLst>
            <pc:docMk/>
            <pc:sldMk cId="3402747004" sldId="2147468777"/>
            <ac:grpSpMk id="2" creationId="{7D98024B-3B6E-472D-B4FD-0DE0197AF4F3}"/>
          </ac:grpSpMkLst>
        </pc:grpChg>
        <pc:grpChg chg="add mod">
          <ac:chgData name="Agarwal, Ritvika Agarwal" userId="b707b316-64a3-4610-910f-1bdb9cece827" providerId="ADAL" clId="{40E9E367-FD06-4E0A-88C6-B990B7860D72}" dt="2023-02-13T11:14:36.641" v="498" actId="1038"/>
          <ac:grpSpMkLst>
            <pc:docMk/>
            <pc:sldMk cId="3402747004" sldId="2147468777"/>
            <ac:grpSpMk id="3" creationId="{D3DAAD29-78D5-4B8C-A13D-60A413AF5289}"/>
          </ac:grpSpMkLst>
        </pc:grpChg>
        <pc:grpChg chg="mod">
          <ac:chgData name="Agarwal, Ritvika Agarwal" userId="b707b316-64a3-4610-910f-1bdb9cece827" providerId="ADAL" clId="{40E9E367-FD06-4E0A-88C6-B990B7860D72}" dt="2023-02-13T11:16:22.319" v="499" actId="1076"/>
          <ac:grpSpMkLst>
            <pc:docMk/>
            <pc:sldMk cId="3402747004" sldId="2147468777"/>
            <ac:grpSpMk id="50" creationId="{AE46C9D5-DE54-47C3-BD78-6102B45F1FB9}"/>
          </ac:grpSpMkLst>
        </pc:grpChg>
        <pc:graphicFrameChg chg="add del mod">
          <ac:chgData name="Agarwal, Ritvika Agarwal" userId="b707b316-64a3-4610-910f-1bdb9cece827" providerId="ADAL" clId="{40E9E367-FD06-4E0A-88C6-B990B7860D72}" dt="2023-02-13T11:19:00.313" v="530" actId="478"/>
          <ac:graphicFrameMkLst>
            <pc:docMk/>
            <pc:sldMk cId="3402747004" sldId="2147468777"/>
            <ac:graphicFrameMk id="4" creationId="{26662365-3C0E-4863-87FF-719C49FC04E9}"/>
          </ac:graphicFrameMkLst>
        </pc:graphicFrameChg>
        <pc:graphicFrameChg chg="mod modGraphic">
          <ac:chgData name="Agarwal, Ritvika Agarwal" userId="b707b316-64a3-4610-910f-1bdb9cece827" providerId="ADAL" clId="{40E9E367-FD06-4E0A-88C6-B990B7860D72}" dt="2023-02-13T11:19:19.134" v="532"/>
          <ac:graphicFrameMkLst>
            <pc:docMk/>
            <pc:sldMk cId="3402747004" sldId="2147468777"/>
            <ac:graphicFrameMk id="53" creationId="{BCBB4BFB-C5AF-423A-AFFB-4F42B1BC672C}"/>
          </ac:graphicFrameMkLst>
        </pc:graphicFrameChg>
      </pc:sldChg>
      <pc:sldChg chg="modSp mod">
        <pc:chgData name="Agarwal, Ritvika Agarwal" userId="b707b316-64a3-4610-910f-1bdb9cece827" providerId="ADAL" clId="{40E9E367-FD06-4E0A-88C6-B990B7860D72}" dt="2023-02-13T10:42:47.366" v="68" actId="1037"/>
        <pc:sldMkLst>
          <pc:docMk/>
          <pc:sldMk cId="1667954082" sldId="2147470972"/>
        </pc:sldMkLst>
        <pc:spChg chg="mod">
          <ac:chgData name="Agarwal, Ritvika Agarwal" userId="b707b316-64a3-4610-910f-1bdb9cece827" providerId="ADAL" clId="{40E9E367-FD06-4E0A-88C6-B990B7860D72}" dt="2023-02-13T10:42:47.366" v="68" actId="1037"/>
          <ac:spMkLst>
            <pc:docMk/>
            <pc:sldMk cId="1667954082" sldId="2147470972"/>
            <ac:spMk id="73" creationId="{B385339B-14A8-4218-8F02-02B852954334}"/>
          </ac:spMkLst>
        </pc:spChg>
      </pc:sldChg>
      <pc:sldChg chg="modSp mod">
        <pc:chgData name="Agarwal, Ritvika Agarwal" userId="b707b316-64a3-4610-910f-1bdb9cece827" providerId="ADAL" clId="{40E9E367-FD06-4E0A-88C6-B990B7860D72}" dt="2023-02-13T11:55:55.914" v="1062" actId="404"/>
        <pc:sldMkLst>
          <pc:docMk/>
          <pc:sldMk cId="4220693754" sldId="2147470974"/>
        </pc:sldMkLst>
        <pc:spChg chg="mod">
          <ac:chgData name="Agarwal, Ritvika Agarwal" userId="b707b316-64a3-4610-910f-1bdb9cece827" providerId="ADAL" clId="{40E9E367-FD06-4E0A-88C6-B990B7860D72}" dt="2023-02-13T11:55:41.607" v="1048" actId="1036"/>
          <ac:spMkLst>
            <pc:docMk/>
            <pc:sldMk cId="4220693754" sldId="2147470974"/>
            <ac:spMk id="5" creationId="{5735EB1C-169A-4EFB-AF98-CA84CB36889D}"/>
          </ac:spMkLst>
        </pc:spChg>
        <pc:spChg chg="mod">
          <ac:chgData name="Agarwal, Ritvika Agarwal" userId="b707b316-64a3-4610-910f-1bdb9cece827" providerId="ADAL" clId="{40E9E367-FD06-4E0A-88C6-B990B7860D72}" dt="2023-02-13T11:55:47.619" v="1061" actId="1036"/>
          <ac:spMkLst>
            <pc:docMk/>
            <pc:sldMk cId="4220693754" sldId="2147470974"/>
            <ac:spMk id="6" creationId="{BF93DE19-A19B-4910-BD4E-8E02B82F8C5F}"/>
          </ac:spMkLst>
        </pc:spChg>
        <pc:graphicFrameChg chg="mod modGraphic">
          <ac:chgData name="Agarwal, Ritvika Agarwal" userId="b707b316-64a3-4610-910f-1bdb9cece827" providerId="ADAL" clId="{40E9E367-FD06-4E0A-88C6-B990B7860D72}" dt="2023-02-13T11:55:55.914" v="1062" actId="404"/>
          <ac:graphicFrameMkLst>
            <pc:docMk/>
            <pc:sldMk cId="4220693754" sldId="2147470974"/>
            <ac:graphicFrameMk id="17" creationId="{00000000-0000-0000-0000-000000000000}"/>
          </ac:graphicFrameMkLst>
        </pc:graphicFrameChg>
      </pc:sldChg>
      <pc:sldChg chg="modSp mod">
        <pc:chgData name="Agarwal, Ritvika Agarwal" userId="b707b316-64a3-4610-910f-1bdb9cece827" providerId="ADAL" clId="{40E9E367-FD06-4E0A-88C6-B990B7860D72}" dt="2023-02-13T11:57:14.999" v="1069" actId="1035"/>
        <pc:sldMkLst>
          <pc:docMk/>
          <pc:sldMk cId="2992909095" sldId="2147470975"/>
        </pc:sldMkLst>
        <pc:spChg chg="mod">
          <ac:chgData name="Agarwal, Ritvika Agarwal" userId="b707b316-64a3-4610-910f-1bdb9cece827" providerId="ADAL" clId="{40E9E367-FD06-4E0A-88C6-B990B7860D72}" dt="2023-02-13T11:57:08.226" v="1065" actId="1076"/>
          <ac:spMkLst>
            <pc:docMk/>
            <pc:sldMk cId="2992909095" sldId="2147470975"/>
            <ac:spMk id="5" creationId="{E2432075-AE4F-4ACE-9F2B-F4FD5211368E}"/>
          </ac:spMkLst>
        </pc:spChg>
        <pc:spChg chg="mod">
          <ac:chgData name="Agarwal, Ritvika Agarwal" userId="b707b316-64a3-4610-910f-1bdb9cece827" providerId="ADAL" clId="{40E9E367-FD06-4E0A-88C6-B990B7860D72}" dt="2023-02-13T11:57:14.999" v="1069" actId="1035"/>
          <ac:spMkLst>
            <pc:docMk/>
            <pc:sldMk cId="2992909095" sldId="2147470975"/>
            <ac:spMk id="6" creationId="{45F09C19-FA0D-4FC7-BB67-F5E4814D6196}"/>
          </ac:spMkLst>
        </pc:spChg>
        <pc:graphicFrameChg chg="mod modGraphic">
          <ac:chgData name="Agarwal, Ritvika Agarwal" userId="b707b316-64a3-4610-910f-1bdb9cece827" providerId="ADAL" clId="{40E9E367-FD06-4E0A-88C6-B990B7860D72}" dt="2023-02-13T11:57:04.702" v="1064" actId="1076"/>
          <ac:graphicFrameMkLst>
            <pc:docMk/>
            <pc:sldMk cId="2992909095" sldId="2147470975"/>
            <ac:graphicFrameMk id="17" creationId="{00000000-0000-0000-0000-000000000000}"/>
          </ac:graphicFrameMkLst>
        </pc:graphicFrameChg>
      </pc:sldChg>
      <pc:sldChg chg="modSp mod">
        <pc:chgData name="Agarwal, Ritvika Agarwal" userId="b707b316-64a3-4610-910f-1bdb9cece827" providerId="ADAL" clId="{40E9E367-FD06-4E0A-88C6-B990B7860D72}" dt="2023-02-13T10:42:07.093" v="66" actId="20577"/>
        <pc:sldMkLst>
          <pc:docMk/>
          <pc:sldMk cId="402935960" sldId="2147470976"/>
        </pc:sldMkLst>
        <pc:spChg chg="mod">
          <ac:chgData name="Agarwal, Ritvika Agarwal" userId="b707b316-64a3-4610-910f-1bdb9cece827" providerId="ADAL" clId="{40E9E367-FD06-4E0A-88C6-B990B7860D72}" dt="2023-02-13T10:42:07.093" v="66" actId="20577"/>
          <ac:spMkLst>
            <pc:docMk/>
            <pc:sldMk cId="402935960" sldId="2147470976"/>
            <ac:spMk id="6" creationId="{0CE6C197-89B3-933A-CAF7-C63EC5AD4EC1}"/>
          </ac:spMkLst>
        </pc:spChg>
      </pc:sldChg>
      <pc:sldChg chg="addSp delSp modSp mod">
        <pc:chgData name="Agarwal, Ritvika Agarwal" userId="b707b316-64a3-4610-910f-1bdb9cece827" providerId="ADAL" clId="{40E9E367-FD06-4E0A-88C6-B990B7860D72}" dt="2023-02-13T12:01:27.633" v="1114" actId="164"/>
        <pc:sldMkLst>
          <pc:docMk/>
          <pc:sldMk cId="352092785" sldId="2147471001"/>
        </pc:sldMkLst>
        <pc:spChg chg="mod">
          <ac:chgData name="Agarwal, Ritvika Agarwal" userId="b707b316-64a3-4610-910f-1bdb9cece827" providerId="ADAL" clId="{40E9E367-FD06-4E0A-88C6-B990B7860D72}" dt="2023-02-13T10:58:44.651" v="228" actId="1076"/>
          <ac:spMkLst>
            <pc:docMk/>
            <pc:sldMk cId="352092785" sldId="2147471001"/>
            <ac:spMk id="4" creationId="{6AF69CDB-BAC7-4D30-A0B5-0A81FA194628}"/>
          </ac:spMkLst>
        </pc:spChg>
        <pc:spChg chg="mod">
          <ac:chgData name="Agarwal, Ritvika Agarwal" userId="b707b316-64a3-4610-910f-1bdb9cece827" providerId="ADAL" clId="{40E9E367-FD06-4E0A-88C6-B990B7860D72}" dt="2023-02-13T11:01:20.173" v="329" actId="1035"/>
          <ac:spMkLst>
            <pc:docMk/>
            <pc:sldMk cId="352092785" sldId="2147471001"/>
            <ac:spMk id="11" creationId="{9A1D1F42-E802-4C30-BA24-4B2F21933EF3}"/>
          </ac:spMkLst>
        </pc:spChg>
        <pc:spChg chg="mod topLvl">
          <ac:chgData name="Agarwal, Ritvika Agarwal" userId="b707b316-64a3-4610-910f-1bdb9cece827" providerId="ADAL" clId="{40E9E367-FD06-4E0A-88C6-B990B7860D72}" dt="2023-02-13T12:01:27.633" v="1114" actId="164"/>
          <ac:spMkLst>
            <pc:docMk/>
            <pc:sldMk cId="352092785" sldId="2147471001"/>
            <ac:spMk id="13" creationId="{A3566384-9868-4097-8BE4-BA6067586319}"/>
          </ac:spMkLst>
        </pc:spChg>
        <pc:spChg chg="mod topLvl">
          <ac:chgData name="Agarwal, Ritvika Agarwal" userId="b707b316-64a3-4610-910f-1bdb9cece827" providerId="ADAL" clId="{40E9E367-FD06-4E0A-88C6-B990B7860D72}" dt="2023-02-13T12:01:27.633" v="1114" actId="164"/>
          <ac:spMkLst>
            <pc:docMk/>
            <pc:sldMk cId="352092785" sldId="2147471001"/>
            <ac:spMk id="14" creationId="{C2F1BBF4-C7CA-4E36-9805-75CAF18D8E0B}"/>
          </ac:spMkLst>
        </pc:spChg>
        <pc:spChg chg="mod topLvl">
          <ac:chgData name="Agarwal, Ritvika Agarwal" userId="b707b316-64a3-4610-910f-1bdb9cece827" providerId="ADAL" clId="{40E9E367-FD06-4E0A-88C6-B990B7860D72}" dt="2023-02-13T12:01:27.633" v="1114" actId="164"/>
          <ac:spMkLst>
            <pc:docMk/>
            <pc:sldMk cId="352092785" sldId="2147471001"/>
            <ac:spMk id="15" creationId="{57FEE1F6-6D3D-4638-B731-531EB6346FC6}"/>
          </ac:spMkLst>
        </pc:spChg>
        <pc:spChg chg="mod topLvl">
          <ac:chgData name="Agarwal, Ritvika Agarwal" userId="b707b316-64a3-4610-910f-1bdb9cece827" providerId="ADAL" clId="{40E9E367-FD06-4E0A-88C6-B990B7860D72}" dt="2023-02-13T12:00:25.204" v="1107" actId="164"/>
          <ac:spMkLst>
            <pc:docMk/>
            <pc:sldMk cId="352092785" sldId="2147471001"/>
            <ac:spMk id="16" creationId="{0CAAD1EA-08FF-4FA7-8DFC-51F4A55275AD}"/>
          </ac:spMkLst>
        </pc:spChg>
        <pc:spChg chg="del">
          <ac:chgData name="Agarwal, Ritvika Agarwal" userId="b707b316-64a3-4610-910f-1bdb9cece827" providerId="ADAL" clId="{40E9E367-FD06-4E0A-88C6-B990B7860D72}" dt="2023-02-13T10:43:13.704" v="71" actId="478"/>
          <ac:spMkLst>
            <pc:docMk/>
            <pc:sldMk cId="352092785" sldId="2147471001"/>
            <ac:spMk id="18" creationId="{BE4FA47F-B387-469B-B1AD-7BE716C8F9BB}"/>
          </ac:spMkLst>
        </pc:spChg>
        <pc:spChg chg="del">
          <ac:chgData name="Agarwal, Ritvika Agarwal" userId="b707b316-64a3-4610-910f-1bdb9cece827" providerId="ADAL" clId="{40E9E367-FD06-4E0A-88C6-B990B7860D72}" dt="2023-02-13T10:43:11.597" v="70" actId="478"/>
          <ac:spMkLst>
            <pc:docMk/>
            <pc:sldMk cId="352092785" sldId="2147471001"/>
            <ac:spMk id="30" creationId="{EF27EE7A-B643-48DC-8682-DE60BA2505A1}"/>
          </ac:spMkLst>
        </pc:spChg>
        <pc:spChg chg="del">
          <ac:chgData name="Agarwal, Ritvika Agarwal" userId="b707b316-64a3-4610-910f-1bdb9cece827" providerId="ADAL" clId="{40E9E367-FD06-4E0A-88C6-B990B7860D72}" dt="2023-02-13T10:43:11.597" v="70" actId="478"/>
          <ac:spMkLst>
            <pc:docMk/>
            <pc:sldMk cId="352092785" sldId="2147471001"/>
            <ac:spMk id="31" creationId="{7A271158-1BFB-42EB-880D-85E3B1FACE68}"/>
          </ac:spMkLst>
        </pc:spChg>
        <pc:spChg chg="del">
          <ac:chgData name="Agarwal, Ritvika Agarwal" userId="b707b316-64a3-4610-910f-1bdb9cece827" providerId="ADAL" clId="{40E9E367-FD06-4E0A-88C6-B990B7860D72}" dt="2023-02-13T10:43:11.597" v="70" actId="478"/>
          <ac:spMkLst>
            <pc:docMk/>
            <pc:sldMk cId="352092785" sldId="2147471001"/>
            <ac:spMk id="32" creationId="{CBC7F8B4-CE72-4687-9BA4-4EAD761A959F}"/>
          </ac:spMkLst>
        </pc:spChg>
        <pc:spChg chg="del">
          <ac:chgData name="Agarwal, Ritvika Agarwal" userId="b707b316-64a3-4610-910f-1bdb9cece827" providerId="ADAL" clId="{40E9E367-FD06-4E0A-88C6-B990B7860D72}" dt="2023-02-13T10:43:16.063" v="72" actId="478"/>
          <ac:spMkLst>
            <pc:docMk/>
            <pc:sldMk cId="352092785" sldId="2147471001"/>
            <ac:spMk id="33" creationId="{490EEDF5-5B81-4E4F-B965-9ABE7084F92F}"/>
          </ac:spMkLst>
        </pc:spChg>
        <pc:spChg chg="del">
          <ac:chgData name="Agarwal, Ritvika Agarwal" userId="b707b316-64a3-4610-910f-1bdb9cece827" providerId="ADAL" clId="{40E9E367-FD06-4E0A-88C6-B990B7860D72}" dt="2023-02-13T10:43:11.597" v="70" actId="478"/>
          <ac:spMkLst>
            <pc:docMk/>
            <pc:sldMk cId="352092785" sldId="2147471001"/>
            <ac:spMk id="34" creationId="{F3E04E58-C9CC-481E-B303-9FDF4699EB07}"/>
          </ac:spMkLst>
        </pc:spChg>
        <pc:spChg chg="mod">
          <ac:chgData name="Agarwal, Ritvika Agarwal" userId="b707b316-64a3-4610-910f-1bdb9cece827" providerId="ADAL" clId="{40E9E367-FD06-4E0A-88C6-B990B7860D72}" dt="2023-02-13T11:58:14.634" v="1071" actId="165"/>
          <ac:spMkLst>
            <pc:docMk/>
            <pc:sldMk cId="352092785" sldId="2147471001"/>
            <ac:spMk id="34" creationId="{F9A676C1-5857-4BAB-A10E-CBE9E7D0B7FC}"/>
          </ac:spMkLst>
        </pc:spChg>
        <pc:spChg chg="mod">
          <ac:chgData name="Agarwal, Ritvika Agarwal" userId="b707b316-64a3-4610-910f-1bdb9cece827" providerId="ADAL" clId="{40E9E367-FD06-4E0A-88C6-B990B7860D72}" dt="2023-02-13T11:58:14.634" v="1071" actId="165"/>
          <ac:spMkLst>
            <pc:docMk/>
            <pc:sldMk cId="352092785" sldId="2147471001"/>
            <ac:spMk id="35" creationId="{31D33E1A-9E37-4132-B61D-16C463262F85}"/>
          </ac:spMkLst>
        </pc:spChg>
        <pc:spChg chg="mod">
          <ac:chgData name="Agarwal, Ritvika Agarwal" userId="b707b316-64a3-4610-910f-1bdb9cece827" providerId="ADAL" clId="{40E9E367-FD06-4E0A-88C6-B990B7860D72}" dt="2023-02-13T11:58:14.634" v="1071" actId="165"/>
          <ac:spMkLst>
            <pc:docMk/>
            <pc:sldMk cId="352092785" sldId="2147471001"/>
            <ac:spMk id="37" creationId="{6A8C53E9-6E78-4FF5-B8C8-DB4DB1197638}"/>
          </ac:spMkLst>
        </pc:spChg>
        <pc:spChg chg="mod">
          <ac:chgData name="Agarwal, Ritvika Agarwal" userId="b707b316-64a3-4610-910f-1bdb9cece827" providerId="ADAL" clId="{40E9E367-FD06-4E0A-88C6-B990B7860D72}" dt="2023-02-13T11:58:14.634" v="1071" actId="165"/>
          <ac:spMkLst>
            <pc:docMk/>
            <pc:sldMk cId="352092785" sldId="2147471001"/>
            <ac:spMk id="39" creationId="{298A8F24-1994-442A-8BFE-1A37F42CB452}"/>
          </ac:spMkLst>
        </pc:spChg>
        <pc:spChg chg="mod">
          <ac:chgData name="Agarwal, Ritvika Agarwal" userId="b707b316-64a3-4610-910f-1bdb9cece827" providerId="ADAL" clId="{40E9E367-FD06-4E0A-88C6-B990B7860D72}" dt="2023-02-13T11:58:14.634" v="1071" actId="165"/>
          <ac:spMkLst>
            <pc:docMk/>
            <pc:sldMk cId="352092785" sldId="2147471001"/>
            <ac:spMk id="41" creationId="{108EF09B-F1C2-4878-B7E3-3183DD333874}"/>
          </ac:spMkLst>
        </pc:spChg>
        <pc:spChg chg="mod">
          <ac:chgData name="Agarwal, Ritvika Agarwal" userId="b707b316-64a3-4610-910f-1bdb9cece827" providerId="ADAL" clId="{40E9E367-FD06-4E0A-88C6-B990B7860D72}" dt="2023-02-13T11:58:14.634" v="1071" actId="165"/>
          <ac:spMkLst>
            <pc:docMk/>
            <pc:sldMk cId="352092785" sldId="2147471001"/>
            <ac:spMk id="43" creationId="{119AFF65-10DF-48C7-A37F-17DC975F226A}"/>
          </ac:spMkLst>
        </pc:spChg>
        <pc:spChg chg="mod">
          <ac:chgData name="Agarwal, Ritvika Agarwal" userId="b707b316-64a3-4610-910f-1bdb9cece827" providerId="ADAL" clId="{40E9E367-FD06-4E0A-88C6-B990B7860D72}" dt="2023-02-13T11:58:14.634" v="1071" actId="165"/>
          <ac:spMkLst>
            <pc:docMk/>
            <pc:sldMk cId="352092785" sldId="2147471001"/>
            <ac:spMk id="45" creationId="{342C44B1-B25C-40BE-A20B-95E351409D55}"/>
          </ac:spMkLst>
        </pc:spChg>
        <pc:spChg chg="mod">
          <ac:chgData name="Agarwal, Ritvika Agarwal" userId="b707b316-64a3-4610-910f-1bdb9cece827" providerId="ADAL" clId="{40E9E367-FD06-4E0A-88C6-B990B7860D72}" dt="2023-02-13T11:58:14.634" v="1071" actId="165"/>
          <ac:spMkLst>
            <pc:docMk/>
            <pc:sldMk cId="352092785" sldId="2147471001"/>
            <ac:spMk id="47" creationId="{6607941C-EAF3-4FD3-AED5-2EC4DCAD638C}"/>
          </ac:spMkLst>
        </pc:spChg>
        <pc:spChg chg="del">
          <ac:chgData name="Agarwal, Ritvika Agarwal" userId="b707b316-64a3-4610-910f-1bdb9cece827" providerId="ADAL" clId="{40E9E367-FD06-4E0A-88C6-B990B7860D72}" dt="2023-02-13T10:43:11.597" v="70" actId="478"/>
          <ac:spMkLst>
            <pc:docMk/>
            <pc:sldMk cId="352092785" sldId="2147471001"/>
            <ac:spMk id="57" creationId="{1F1B5487-39D1-4B96-B69F-81A79764FA30}"/>
          </ac:spMkLst>
        </pc:spChg>
        <pc:spChg chg="del">
          <ac:chgData name="Agarwal, Ritvika Agarwal" userId="b707b316-64a3-4610-910f-1bdb9cece827" providerId="ADAL" clId="{40E9E367-FD06-4E0A-88C6-B990B7860D72}" dt="2023-02-13T10:43:11.597" v="70" actId="478"/>
          <ac:spMkLst>
            <pc:docMk/>
            <pc:sldMk cId="352092785" sldId="2147471001"/>
            <ac:spMk id="74" creationId="{E6A1C9BF-23EF-4411-8251-44E6F2735575}"/>
          </ac:spMkLst>
        </pc:spChg>
        <pc:spChg chg="mod">
          <ac:chgData name="Agarwal, Ritvika Agarwal" userId="b707b316-64a3-4610-910f-1bdb9cece827" providerId="ADAL" clId="{40E9E367-FD06-4E0A-88C6-B990B7860D72}" dt="2023-02-13T10:43:24.352" v="73"/>
          <ac:spMkLst>
            <pc:docMk/>
            <pc:sldMk cId="352092785" sldId="2147471001"/>
            <ac:spMk id="75" creationId="{CB17C21A-DE88-4B8F-AB5B-A8B0E5B0DDB3}"/>
          </ac:spMkLst>
        </pc:spChg>
        <pc:spChg chg="mod topLvl">
          <ac:chgData name="Agarwal, Ritvika Agarwal" userId="b707b316-64a3-4610-910f-1bdb9cece827" providerId="ADAL" clId="{40E9E367-FD06-4E0A-88C6-B990B7860D72}" dt="2023-02-13T12:00:31.384" v="1109" actId="164"/>
          <ac:spMkLst>
            <pc:docMk/>
            <pc:sldMk cId="352092785" sldId="2147471001"/>
            <ac:spMk id="76" creationId="{6AE2A38A-F3A1-454F-89C2-D8A7C7952537}"/>
          </ac:spMkLst>
        </pc:spChg>
        <pc:spChg chg="mod">
          <ac:chgData name="Agarwal, Ritvika Agarwal" userId="b707b316-64a3-4610-910f-1bdb9cece827" providerId="ADAL" clId="{40E9E367-FD06-4E0A-88C6-B990B7860D72}" dt="2023-02-13T10:43:24.352" v="73"/>
          <ac:spMkLst>
            <pc:docMk/>
            <pc:sldMk cId="352092785" sldId="2147471001"/>
            <ac:spMk id="78" creationId="{2BB83099-A8BD-4E06-B004-554E6CE7A164}"/>
          </ac:spMkLst>
        </pc:spChg>
        <pc:spChg chg="mod topLvl">
          <ac:chgData name="Agarwal, Ritvika Agarwal" userId="b707b316-64a3-4610-910f-1bdb9cece827" providerId="ADAL" clId="{40E9E367-FD06-4E0A-88C6-B990B7860D72}" dt="2023-02-13T12:01:27.633" v="1114" actId="164"/>
          <ac:spMkLst>
            <pc:docMk/>
            <pc:sldMk cId="352092785" sldId="2147471001"/>
            <ac:spMk id="79" creationId="{99C39C33-CC2D-4C27-9443-B3E14BFCE1BF}"/>
          </ac:spMkLst>
        </pc:spChg>
        <pc:spChg chg="mod topLvl">
          <ac:chgData name="Agarwal, Ritvika Agarwal" userId="b707b316-64a3-4610-910f-1bdb9cece827" providerId="ADAL" clId="{40E9E367-FD06-4E0A-88C6-B990B7860D72}" dt="2023-02-13T12:01:27.633" v="1114" actId="164"/>
          <ac:spMkLst>
            <pc:docMk/>
            <pc:sldMk cId="352092785" sldId="2147471001"/>
            <ac:spMk id="80" creationId="{D4A40819-9889-49E3-B4D7-F72B39FCFCFF}"/>
          </ac:spMkLst>
        </pc:spChg>
        <pc:spChg chg="mod topLvl">
          <ac:chgData name="Agarwal, Ritvika Agarwal" userId="b707b316-64a3-4610-910f-1bdb9cece827" providerId="ADAL" clId="{40E9E367-FD06-4E0A-88C6-B990B7860D72}" dt="2023-02-13T12:01:27.633" v="1114" actId="164"/>
          <ac:spMkLst>
            <pc:docMk/>
            <pc:sldMk cId="352092785" sldId="2147471001"/>
            <ac:spMk id="81" creationId="{3CD7A19D-979E-43E5-BB25-89EBF75E9BE6}"/>
          </ac:spMkLst>
        </pc:spChg>
        <pc:spChg chg="mod topLvl">
          <ac:chgData name="Agarwal, Ritvika Agarwal" userId="b707b316-64a3-4610-910f-1bdb9cece827" providerId="ADAL" clId="{40E9E367-FD06-4E0A-88C6-B990B7860D72}" dt="2023-02-13T12:00:31.384" v="1109" actId="164"/>
          <ac:spMkLst>
            <pc:docMk/>
            <pc:sldMk cId="352092785" sldId="2147471001"/>
            <ac:spMk id="82" creationId="{13E04E9B-E31C-4E79-86F7-978244F1EC21}"/>
          </ac:spMkLst>
        </pc:spChg>
        <pc:spChg chg="mod topLvl">
          <ac:chgData name="Agarwal, Ritvika Agarwal" userId="b707b316-64a3-4610-910f-1bdb9cece827" providerId="ADAL" clId="{40E9E367-FD06-4E0A-88C6-B990B7860D72}" dt="2023-02-13T12:00:25.204" v="1107" actId="164"/>
          <ac:spMkLst>
            <pc:docMk/>
            <pc:sldMk cId="352092785" sldId="2147471001"/>
            <ac:spMk id="83" creationId="{4BC043BA-211E-4AE7-99DA-7F86F72715A9}"/>
          </ac:spMkLst>
        </pc:spChg>
        <pc:spChg chg="mod">
          <ac:chgData name="Agarwal, Ritvika Agarwal" userId="b707b316-64a3-4610-910f-1bdb9cece827" providerId="ADAL" clId="{40E9E367-FD06-4E0A-88C6-B990B7860D72}" dt="2023-02-13T10:43:24.352" v="73"/>
          <ac:spMkLst>
            <pc:docMk/>
            <pc:sldMk cId="352092785" sldId="2147471001"/>
            <ac:spMk id="85" creationId="{AEEA8C5A-05EA-4B84-A72E-F28A0B6DEFE9}"/>
          </ac:spMkLst>
        </pc:spChg>
        <pc:spChg chg="mod">
          <ac:chgData name="Agarwal, Ritvika Agarwal" userId="b707b316-64a3-4610-910f-1bdb9cece827" providerId="ADAL" clId="{40E9E367-FD06-4E0A-88C6-B990B7860D72}" dt="2023-02-13T10:43:24.352" v="73"/>
          <ac:spMkLst>
            <pc:docMk/>
            <pc:sldMk cId="352092785" sldId="2147471001"/>
            <ac:spMk id="87" creationId="{A994CCCA-E2CA-49A3-9A94-7D3DBEB1EF5E}"/>
          </ac:spMkLst>
        </pc:spChg>
        <pc:spChg chg="mod">
          <ac:chgData name="Agarwal, Ritvika Agarwal" userId="b707b316-64a3-4610-910f-1bdb9cece827" providerId="ADAL" clId="{40E9E367-FD06-4E0A-88C6-B990B7860D72}" dt="2023-02-13T10:43:24.352" v="73"/>
          <ac:spMkLst>
            <pc:docMk/>
            <pc:sldMk cId="352092785" sldId="2147471001"/>
            <ac:spMk id="89" creationId="{7918B885-28A3-49D6-9F5F-B50575EB3BB3}"/>
          </ac:spMkLst>
        </pc:spChg>
        <pc:spChg chg="mod">
          <ac:chgData name="Agarwal, Ritvika Agarwal" userId="b707b316-64a3-4610-910f-1bdb9cece827" providerId="ADAL" clId="{40E9E367-FD06-4E0A-88C6-B990B7860D72}" dt="2023-02-13T10:43:24.352" v="73"/>
          <ac:spMkLst>
            <pc:docMk/>
            <pc:sldMk cId="352092785" sldId="2147471001"/>
            <ac:spMk id="91" creationId="{3F3CB6A8-DE5F-4936-8563-C9F46AF947D2}"/>
          </ac:spMkLst>
        </pc:spChg>
        <pc:spChg chg="mod">
          <ac:chgData name="Agarwal, Ritvika Agarwal" userId="b707b316-64a3-4610-910f-1bdb9cece827" providerId="ADAL" clId="{40E9E367-FD06-4E0A-88C6-B990B7860D72}" dt="2023-02-13T10:43:24.352" v="73"/>
          <ac:spMkLst>
            <pc:docMk/>
            <pc:sldMk cId="352092785" sldId="2147471001"/>
            <ac:spMk id="93" creationId="{D5F80CD0-A2DC-4DC0-91A8-E89BFE3C18A8}"/>
          </ac:spMkLst>
        </pc:spChg>
        <pc:grpChg chg="add del mod topLvl">
          <ac:chgData name="Agarwal, Ritvika Agarwal" userId="b707b316-64a3-4610-910f-1bdb9cece827" providerId="ADAL" clId="{40E9E367-FD06-4E0A-88C6-B990B7860D72}" dt="2023-02-13T12:00:18.705" v="1106" actId="165"/>
          <ac:grpSpMkLst>
            <pc:docMk/>
            <pc:sldMk cId="352092785" sldId="2147471001"/>
            <ac:grpSpMk id="3" creationId="{47EE4420-1D4A-4DF3-86A1-1A2E18516D79}"/>
          </ac:grpSpMkLst>
        </pc:grpChg>
        <pc:grpChg chg="del">
          <ac:chgData name="Agarwal, Ritvika Agarwal" userId="b707b316-64a3-4610-910f-1bdb9cece827" providerId="ADAL" clId="{40E9E367-FD06-4E0A-88C6-B990B7860D72}" dt="2023-02-13T10:43:11.597" v="70" actId="478"/>
          <ac:grpSpMkLst>
            <pc:docMk/>
            <pc:sldMk cId="352092785" sldId="2147471001"/>
            <ac:grpSpMk id="3" creationId="{B66B3F9F-CD44-4A27-8280-2B8B17547858}"/>
          </ac:grpSpMkLst>
        </pc:grpChg>
        <pc:grpChg chg="del">
          <ac:chgData name="Agarwal, Ritvika Agarwal" userId="b707b316-64a3-4610-910f-1bdb9cece827" providerId="ADAL" clId="{40E9E367-FD06-4E0A-88C6-B990B7860D72}" dt="2023-02-13T10:43:11.597" v="70" actId="478"/>
          <ac:grpSpMkLst>
            <pc:docMk/>
            <pc:sldMk cId="352092785" sldId="2147471001"/>
            <ac:grpSpMk id="6" creationId="{420824A8-781B-4BEC-B8F8-4C18445383A8}"/>
          </ac:grpSpMkLst>
        </pc:grpChg>
        <pc:grpChg chg="add del mod">
          <ac:chgData name="Agarwal, Ritvika Agarwal" userId="b707b316-64a3-4610-910f-1bdb9cece827" providerId="ADAL" clId="{40E9E367-FD06-4E0A-88C6-B990B7860D72}" dt="2023-02-13T11:58:08.084" v="1070" actId="165"/>
          <ac:grpSpMkLst>
            <pc:docMk/>
            <pc:sldMk cId="352092785" sldId="2147471001"/>
            <ac:grpSpMk id="6" creationId="{79E539AD-0C67-431D-A7D0-C67CCCAE99BB}"/>
          </ac:grpSpMkLst>
        </pc:grpChg>
        <pc:grpChg chg="del">
          <ac:chgData name="Agarwal, Ritvika Agarwal" userId="b707b316-64a3-4610-910f-1bdb9cece827" providerId="ADAL" clId="{40E9E367-FD06-4E0A-88C6-B990B7860D72}" dt="2023-02-13T10:43:11.597" v="70" actId="478"/>
          <ac:grpSpMkLst>
            <pc:docMk/>
            <pc:sldMk cId="352092785" sldId="2147471001"/>
            <ac:grpSpMk id="7" creationId="{8385F9FD-1111-41AD-A9B0-425FA879FDD0}"/>
          </ac:grpSpMkLst>
        </pc:grpChg>
        <pc:grpChg chg="del">
          <ac:chgData name="Agarwal, Ritvika Agarwal" userId="b707b316-64a3-4610-910f-1bdb9cece827" providerId="ADAL" clId="{40E9E367-FD06-4E0A-88C6-B990B7860D72}" dt="2023-02-13T10:43:07.207" v="69" actId="478"/>
          <ac:grpSpMkLst>
            <pc:docMk/>
            <pc:sldMk cId="352092785" sldId="2147471001"/>
            <ac:grpSpMk id="17" creationId="{645CA159-2E03-45BA-B550-A433119F27CE}"/>
          </ac:grpSpMkLst>
        </pc:grpChg>
        <pc:grpChg chg="add del mod topLvl">
          <ac:chgData name="Agarwal, Ritvika Agarwal" userId="b707b316-64a3-4610-910f-1bdb9cece827" providerId="ADAL" clId="{40E9E367-FD06-4E0A-88C6-B990B7860D72}" dt="2023-02-13T11:58:14.634" v="1071" actId="165"/>
          <ac:grpSpMkLst>
            <pc:docMk/>
            <pc:sldMk cId="352092785" sldId="2147471001"/>
            <ac:grpSpMk id="17" creationId="{DC5BC529-6EB9-47C4-AE04-A253FE037D17}"/>
          </ac:grpSpMkLst>
        </pc:grpChg>
        <pc:grpChg chg="del">
          <ac:chgData name="Agarwal, Ritvika Agarwal" userId="b707b316-64a3-4610-910f-1bdb9cece827" providerId="ADAL" clId="{40E9E367-FD06-4E0A-88C6-B990B7860D72}" dt="2023-02-13T10:43:11.597" v="70" actId="478"/>
          <ac:grpSpMkLst>
            <pc:docMk/>
            <pc:sldMk cId="352092785" sldId="2147471001"/>
            <ac:grpSpMk id="22" creationId="{8D1E8721-5737-476D-B575-EBE3908E39A7}"/>
          </ac:grpSpMkLst>
        </pc:grpChg>
        <pc:grpChg chg="mod topLvl">
          <ac:chgData name="Agarwal, Ritvika Agarwal" userId="b707b316-64a3-4610-910f-1bdb9cece827" providerId="ADAL" clId="{40E9E367-FD06-4E0A-88C6-B990B7860D72}" dt="2023-02-13T12:01:27.633" v="1114" actId="164"/>
          <ac:grpSpMkLst>
            <pc:docMk/>
            <pc:sldMk cId="352092785" sldId="2147471001"/>
            <ac:grpSpMk id="24" creationId="{B4AED022-A145-42B8-92B8-8BDBAC0C85F7}"/>
          </ac:grpSpMkLst>
        </pc:grpChg>
        <pc:grpChg chg="mod topLvl">
          <ac:chgData name="Agarwal, Ritvika Agarwal" userId="b707b316-64a3-4610-910f-1bdb9cece827" providerId="ADAL" clId="{40E9E367-FD06-4E0A-88C6-B990B7860D72}" dt="2023-02-13T12:01:27.633" v="1114" actId="164"/>
          <ac:grpSpMkLst>
            <pc:docMk/>
            <pc:sldMk cId="352092785" sldId="2147471001"/>
            <ac:grpSpMk id="25" creationId="{FA3795AE-2355-4148-AC18-CE977BE8DB9E}"/>
          </ac:grpSpMkLst>
        </pc:grpChg>
        <pc:grpChg chg="mod topLvl">
          <ac:chgData name="Agarwal, Ritvika Agarwal" userId="b707b316-64a3-4610-910f-1bdb9cece827" providerId="ADAL" clId="{40E9E367-FD06-4E0A-88C6-B990B7860D72}" dt="2023-02-13T12:01:27.633" v="1114" actId="164"/>
          <ac:grpSpMkLst>
            <pc:docMk/>
            <pc:sldMk cId="352092785" sldId="2147471001"/>
            <ac:grpSpMk id="26" creationId="{ABAE0793-D518-44B7-BDCF-F8798A2B770C}"/>
          </ac:grpSpMkLst>
        </pc:grpChg>
        <pc:grpChg chg="mod topLvl">
          <ac:chgData name="Agarwal, Ritvika Agarwal" userId="b707b316-64a3-4610-910f-1bdb9cece827" providerId="ADAL" clId="{40E9E367-FD06-4E0A-88C6-B990B7860D72}" dt="2023-02-13T12:01:27.633" v="1114" actId="164"/>
          <ac:grpSpMkLst>
            <pc:docMk/>
            <pc:sldMk cId="352092785" sldId="2147471001"/>
            <ac:grpSpMk id="27" creationId="{4B99F684-8130-4567-9C90-74367857570A}"/>
          </ac:grpSpMkLst>
        </pc:grpChg>
        <pc:grpChg chg="mod topLvl">
          <ac:chgData name="Agarwal, Ritvika Agarwal" userId="b707b316-64a3-4610-910f-1bdb9cece827" providerId="ADAL" clId="{40E9E367-FD06-4E0A-88C6-B990B7860D72}" dt="2023-02-13T12:01:27.633" v="1114" actId="164"/>
          <ac:grpSpMkLst>
            <pc:docMk/>
            <pc:sldMk cId="352092785" sldId="2147471001"/>
            <ac:grpSpMk id="28" creationId="{0F7FA7A8-5ECA-44B5-8AE9-E0B6A7EB4FDD}"/>
          </ac:grpSpMkLst>
        </pc:grpChg>
        <pc:grpChg chg="mod topLvl">
          <ac:chgData name="Agarwal, Ritvika Agarwal" userId="b707b316-64a3-4610-910f-1bdb9cece827" providerId="ADAL" clId="{40E9E367-FD06-4E0A-88C6-B990B7860D72}" dt="2023-02-13T12:01:27.633" v="1114" actId="164"/>
          <ac:grpSpMkLst>
            <pc:docMk/>
            <pc:sldMk cId="352092785" sldId="2147471001"/>
            <ac:grpSpMk id="29" creationId="{24F93950-A9FC-465E-AFAB-71138999DA87}"/>
          </ac:grpSpMkLst>
        </pc:grpChg>
        <pc:grpChg chg="mod topLvl">
          <ac:chgData name="Agarwal, Ritvika Agarwal" userId="b707b316-64a3-4610-910f-1bdb9cece827" providerId="ADAL" clId="{40E9E367-FD06-4E0A-88C6-B990B7860D72}" dt="2023-02-13T12:01:27.633" v="1114" actId="164"/>
          <ac:grpSpMkLst>
            <pc:docMk/>
            <pc:sldMk cId="352092785" sldId="2147471001"/>
            <ac:grpSpMk id="30" creationId="{3D9B34DD-1DFA-4FEC-8F59-2B1898D42B32}"/>
          </ac:grpSpMkLst>
        </pc:grpChg>
        <pc:grpChg chg="mod topLvl">
          <ac:chgData name="Agarwal, Ritvika Agarwal" userId="b707b316-64a3-4610-910f-1bdb9cece827" providerId="ADAL" clId="{40E9E367-FD06-4E0A-88C6-B990B7860D72}" dt="2023-02-13T12:01:27.633" v="1114" actId="164"/>
          <ac:grpSpMkLst>
            <pc:docMk/>
            <pc:sldMk cId="352092785" sldId="2147471001"/>
            <ac:grpSpMk id="31" creationId="{31F3D656-2F45-4E5E-9E22-2051E32306A8}"/>
          </ac:grpSpMkLst>
        </pc:grpChg>
        <pc:grpChg chg="add mod">
          <ac:chgData name="Agarwal, Ritvika Agarwal" userId="b707b316-64a3-4610-910f-1bdb9cece827" providerId="ADAL" clId="{40E9E367-FD06-4E0A-88C6-B990B7860D72}" dt="2023-02-13T12:01:27.633" v="1114" actId="164"/>
          <ac:grpSpMkLst>
            <pc:docMk/>
            <pc:sldMk cId="352092785" sldId="2147471001"/>
            <ac:grpSpMk id="53" creationId="{5B0016EB-DB9E-4A5E-9BFB-ABA2E04E6BBC}"/>
          </ac:grpSpMkLst>
        </pc:grpChg>
        <pc:grpChg chg="add mod">
          <ac:chgData name="Agarwal, Ritvika Agarwal" userId="b707b316-64a3-4610-910f-1bdb9cece827" providerId="ADAL" clId="{40E9E367-FD06-4E0A-88C6-B990B7860D72}" dt="2023-02-13T12:01:27.633" v="1114" actId="164"/>
          <ac:grpSpMkLst>
            <pc:docMk/>
            <pc:sldMk cId="352092785" sldId="2147471001"/>
            <ac:grpSpMk id="54" creationId="{AFD1FBB9-1829-4A82-AB8D-D6A234E94750}"/>
          </ac:grpSpMkLst>
        </pc:grpChg>
        <pc:grpChg chg="add mod">
          <ac:chgData name="Agarwal, Ritvika Agarwal" userId="b707b316-64a3-4610-910f-1bdb9cece827" providerId="ADAL" clId="{40E9E367-FD06-4E0A-88C6-B990B7860D72}" dt="2023-02-13T12:01:27.633" v="1114" actId="164"/>
          <ac:grpSpMkLst>
            <pc:docMk/>
            <pc:sldMk cId="352092785" sldId="2147471001"/>
            <ac:grpSpMk id="56" creationId="{92CBE081-AD5C-4BB6-BC85-5368362BBFAE}"/>
          </ac:grpSpMkLst>
        </pc:grpChg>
        <pc:grpChg chg="del">
          <ac:chgData name="Agarwal, Ritvika Agarwal" userId="b707b316-64a3-4610-910f-1bdb9cece827" providerId="ADAL" clId="{40E9E367-FD06-4E0A-88C6-B990B7860D72}" dt="2023-02-13T10:43:11.597" v="70" actId="478"/>
          <ac:grpSpMkLst>
            <pc:docMk/>
            <pc:sldMk cId="352092785" sldId="2147471001"/>
            <ac:grpSpMk id="58" creationId="{DDCF498F-5356-43EA-B061-71EFD6CE0774}"/>
          </ac:grpSpMkLst>
        </pc:grpChg>
        <pc:grpChg chg="add del mod">
          <ac:chgData name="Agarwal, Ritvika Agarwal" userId="b707b316-64a3-4610-910f-1bdb9cece827" providerId="ADAL" clId="{40E9E367-FD06-4E0A-88C6-B990B7860D72}" dt="2023-02-13T10:44:00.798" v="74"/>
          <ac:grpSpMkLst>
            <pc:docMk/>
            <pc:sldMk cId="352092785" sldId="2147471001"/>
            <ac:grpSpMk id="60" creationId="{30F9ABC8-6439-4312-949C-1A67C60EEA3D}"/>
          </ac:grpSpMkLst>
        </pc:grpChg>
        <pc:grpChg chg="mod">
          <ac:chgData name="Agarwal, Ritvika Agarwal" userId="b707b316-64a3-4610-910f-1bdb9cece827" providerId="ADAL" clId="{40E9E367-FD06-4E0A-88C6-B990B7860D72}" dt="2023-02-13T10:43:24.352" v="73"/>
          <ac:grpSpMkLst>
            <pc:docMk/>
            <pc:sldMk cId="352092785" sldId="2147471001"/>
            <ac:grpSpMk id="67" creationId="{5184814F-BF36-464D-8D34-5231615A508D}"/>
          </ac:grpSpMkLst>
        </pc:grpChg>
        <pc:grpChg chg="mod">
          <ac:chgData name="Agarwal, Ritvika Agarwal" userId="b707b316-64a3-4610-910f-1bdb9cece827" providerId="ADAL" clId="{40E9E367-FD06-4E0A-88C6-B990B7860D72}" dt="2023-02-13T10:43:24.352" v="73"/>
          <ac:grpSpMkLst>
            <pc:docMk/>
            <pc:sldMk cId="352092785" sldId="2147471001"/>
            <ac:grpSpMk id="68" creationId="{840A0F8E-E9D4-4E99-85D3-94F432A2943C}"/>
          </ac:grpSpMkLst>
        </pc:grpChg>
        <pc:grpChg chg="mod">
          <ac:chgData name="Agarwal, Ritvika Agarwal" userId="b707b316-64a3-4610-910f-1bdb9cece827" providerId="ADAL" clId="{40E9E367-FD06-4E0A-88C6-B990B7860D72}" dt="2023-02-13T10:43:24.352" v="73"/>
          <ac:grpSpMkLst>
            <pc:docMk/>
            <pc:sldMk cId="352092785" sldId="2147471001"/>
            <ac:grpSpMk id="69" creationId="{48CA2BB4-6059-4F7A-96CB-FDC7DC48456E}"/>
          </ac:grpSpMkLst>
        </pc:grpChg>
        <pc:grpChg chg="mod">
          <ac:chgData name="Agarwal, Ritvika Agarwal" userId="b707b316-64a3-4610-910f-1bdb9cece827" providerId="ADAL" clId="{40E9E367-FD06-4E0A-88C6-B990B7860D72}" dt="2023-02-13T10:43:24.352" v="73"/>
          <ac:grpSpMkLst>
            <pc:docMk/>
            <pc:sldMk cId="352092785" sldId="2147471001"/>
            <ac:grpSpMk id="70" creationId="{63E7925E-8E09-4453-91F2-EE5993A7C13F}"/>
          </ac:grpSpMkLst>
        </pc:grpChg>
        <pc:grpChg chg="mod">
          <ac:chgData name="Agarwal, Ritvika Agarwal" userId="b707b316-64a3-4610-910f-1bdb9cece827" providerId="ADAL" clId="{40E9E367-FD06-4E0A-88C6-B990B7860D72}" dt="2023-02-13T10:43:24.352" v="73"/>
          <ac:grpSpMkLst>
            <pc:docMk/>
            <pc:sldMk cId="352092785" sldId="2147471001"/>
            <ac:grpSpMk id="71" creationId="{A08FA019-B380-4C39-B8EC-68A7A11CEBF2}"/>
          </ac:grpSpMkLst>
        </pc:grpChg>
        <pc:grpChg chg="mod">
          <ac:chgData name="Agarwal, Ritvika Agarwal" userId="b707b316-64a3-4610-910f-1bdb9cece827" providerId="ADAL" clId="{40E9E367-FD06-4E0A-88C6-B990B7860D72}" dt="2023-02-13T10:43:24.352" v="73"/>
          <ac:grpSpMkLst>
            <pc:docMk/>
            <pc:sldMk cId="352092785" sldId="2147471001"/>
            <ac:grpSpMk id="72" creationId="{152612F6-A6C0-45F9-87D7-6A125FB53BB2}"/>
          </ac:grpSpMkLst>
        </pc:grpChg>
        <pc:grpChg chg="mod">
          <ac:chgData name="Agarwal, Ritvika Agarwal" userId="b707b316-64a3-4610-910f-1bdb9cece827" providerId="ADAL" clId="{40E9E367-FD06-4E0A-88C6-B990B7860D72}" dt="2023-02-13T10:43:24.352" v="73"/>
          <ac:grpSpMkLst>
            <pc:docMk/>
            <pc:sldMk cId="352092785" sldId="2147471001"/>
            <ac:grpSpMk id="73" creationId="{AE436A1C-C3D9-435C-804E-34BB44EB7752}"/>
          </ac:grpSpMkLst>
        </pc:grpChg>
        <pc:picChg chg="add del mod">
          <ac:chgData name="Agarwal, Ritvika Agarwal" userId="b707b316-64a3-4610-910f-1bdb9cece827" providerId="ADAL" clId="{40E9E367-FD06-4E0A-88C6-B990B7860D72}" dt="2023-02-13T10:45:23.307" v="102" actId="478"/>
          <ac:picMkLst>
            <pc:docMk/>
            <pc:sldMk cId="352092785" sldId="2147471001"/>
            <ac:picMk id="2" creationId="{4199B960-C4F0-44E2-8579-72E196C36305}"/>
          </ac:picMkLst>
        </pc:picChg>
        <pc:picChg chg="mod">
          <ac:chgData name="Agarwal, Ritvika Agarwal" userId="b707b316-64a3-4610-910f-1bdb9cece827" providerId="ADAL" clId="{40E9E367-FD06-4E0A-88C6-B990B7860D72}" dt="2023-02-13T11:58:14.634" v="1071" actId="165"/>
          <ac:picMkLst>
            <pc:docMk/>
            <pc:sldMk cId="352092785" sldId="2147471001"/>
            <ac:picMk id="33" creationId="{02E75A12-2152-4A77-9F1C-83ECA47810FF}"/>
          </ac:picMkLst>
        </pc:picChg>
        <pc:picChg chg="mod">
          <ac:chgData name="Agarwal, Ritvika Agarwal" userId="b707b316-64a3-4610-910f-1bdb9cece827" providerId="ADAL" clId="{40E9E367-FD06-4E0A-88C6-B990B7860D72}" dt="2023-02-13T11:58:14.634" v="1071" actId="165"/>
          <ac:picMkLst>
            <pc:docMk/>
            <pc:sldMk cId="352092785" sldId="2147471001"/>
            <ac:picMk id="36" creationId="{9F2763FC-0A01-4C8A-A678-E6E04D037601}"/>
          </ac:picMkLst>
        </pc:picChg>
        <pc:picChg chg="mod">
          <ac:chgData name="Agarwal, Ritvika Agarwal" userId="b707b316-64a3-4610-910f-1bdb9cece827" providerId="ADAL" clId="{40E9E367-FD06-4E0A-88C6-B990B7860D72}" dt="2023-02-13T11:58:14.634" v="1071" actId="165"/>
          <ac:picMkLst>
            <pc:docMk/>
            <pc:sldMk cId="352092785" sldId="2147471001"/>
            <ac:picMk id="38" creationId="{228AFDB9-338B-48B4-B877-E4735FD4F64E}"/>
          </ac:picMkLst>
        </pc:picChg>
        <pc:picChg chg="mod">
          <ac:chgData name="Agarwal, Ritvika Agarwal" userId="b707b316-64a3-4610-910f-1bdb9cece827" providerId="ADAL" clId="{40E9E367-FD06-4E0A-88C6-B990B7860D72}" dt="2023-02-13T11:58:14.634" v="1071" actId="165"/>
          <ac:picMkLst>
            <pc:docMk/>
            <pc:sldMk cId="352092785" sldId="2147471001"/>
            <ac:picMk id="40" creationId="{F0C73F2E-78FE-47AA-B53D-60B2FE5DA9A6}"/>
          </ac:picMkLst>
        </pc:picChg>
        <pc:picChg chg="mod">
          <ac:chgData name="Agarwal, Ritvika Agarwal" userId="b707b316-64a3-4610-910f-1bdb9cece827" providerId="ADAL" clId="{40E9E367-FD06-4E0A-88C6-B990B7860D72}" dt="2023-02-13T11:58:14.634" v="1071" actId="165"/>
          <ac:picMkLst>
            <pc:docMk/>
            <pc:sldMk cId="352092785" sldId="2147471001"/>
            <ac:picMk id="42" creationId="{C61B2B58-BBBA-4EA3-873E-82ACFE9BEA2C}"/>
          </ac:picMkLst>
        </pc:picChg>
        <pc:picChg chg="mod">
          <ac:chgData name="Agarwal, Ritvika Agarwal" userId="b707b316-64a3-4610-910f-1bdb9cece827" providerId="ADAL" clId="{40E9E367-FD06-4E0A-88C6-B990B7860D72}" dt="2023-02-13T11:58:14.634" v="1071" actId="165"/>
          <ac:picMkLst>
            <pc:docMk/>
            <pc:sldMk cId="352092785" sldId="2147471001"/>
            <ac:picMk id="44" creationId="{FEE28B0F-0208-472E-BA9B-04F3FB134182}"/>
          </ac:picMkLst>
        </pc:picChg>
        <pc:picChg chg="mod">
          <ac:chgData name="Agarwal, Ritvika Agarwal" userId="b707b316-64a3-4610-910f-1bdb9cece827" providerId="ADAL" clId="{40E9E367-FD06-4E0A-88C6-B990B7860D72}" dt="2023-02-13T11:58:14.634" v="1071" actId="165"/>
          <ac:picMkLst>
            <pc:docMk/>
            <pc:sldMk cId="352092785" sldId="2147471001"/>
            <ac:picMk id="46" creationId="{4143E413-B31A-4819-B26A-293E3E678397}"/>
          </ac:picMkLst>
        </pc:picChg>
        <pc:picChg chg="mod">
          <ac:chgData name="Agarwal, Ritvika Agarwal" userId="b707b316-64a3-4610-910f-1bdb9cece827" providerId="ADAL" clId="{40E9E367-FD06-4E0A-88C6-B990B7860D72}" dt="2023-02-13T11:58:14.634" v="1071" actId="165"/>
          <ac:picMkLst>
            <pc:docMk/>
            <pc:sldMk cId="352092785" sldId="2147471001"/>
            <ac:picMk id="48" creationId="{25668A92-FDDB-40E8-B63E-63F27C3CAB82}"/>
          </ac:picMkLst>
        </pc:picChg>
        <pc:picChg chg="mod">
          <ac:chgData name="Agarwal, Ritvika Agarwal" userId="b707b316-64a3-4610-910f-1bdb9cece827" providerId="ADAL" clId="{40E9E367-FD06-4E0A-88C6-B990B7860D72}" dt="2023-02-13T10:43:24.352" v="73"/>
          <ac:picMkLst>
            <pc:docMk/>
            <pc:sldMk cId="352092785" sldId="2147471001"/>
            <ac:picMk id="77" creationId="{EE0903C1-DA64-4C05-8C4F-CD8D6D4F5009}"/>
          </ac:picMkLst>
        </pc:picChg>
        <pc:picChg chg="mod">
          <ac:chgData name="Agarwal, Ritvika Agarwal" userId="b707b316-64a3-4610-910f-1bdb9cece827" providerId="ADAL" clId="{40E9E367-FD06-4E0A-88C6-B990B7860D72}" dt="2023-02-13T10:43:24.352" v="73"/>
          <ac:picMkLst>
            <pc:docMk/>
            <pc:sldMk cId="352092785" sldId="2147471001"/>
            <ac:picMk id="84" creationId="{976F312A-2BAF-4C3F-AFD2-F64E2C9F3274}"/>
          </ac:picMkLst>
        </pc:picChg>
        <pc:picChg chg="mod">
          <ac:chgData name="Agarwal, Ritvika Agarwal" userId="b707b316-64a3-4610-910f-1bdb9cece827" providerId="ADAL" clId="{40E9E367-FD06-4E0A-88C6-B990B7860D72}" dt="2023-02-13T10:43:24.352" v="73"/>
          <ac:picMkLst>
            <pc:docMk/>
            <pc:sldMk cId="352092785" sldId="2147471001"/>
            <ac:picMk id="86" creationId="{38EF540C-0BFE-498F-A207-602F28E25B56}"/>
          </ac:picMkLst>
        </pc:picChg>
        <pc:picChg chg="mod">
          <ac:chgData name="Agarwal, Ritvika Agarwal" userId="b707b316-64a3-4610-910f-1bdb9cece827" providerId="ADAL" clId="{40E9E367-FD06-4E0A-88C6-B990B7860D72}" dt="2023-02-13T10:43:24.352" v="73"/>
          <ac:picMkLst>
            <pc:docMk/>
            <pc:sldMk cId="352092785" sldId="2147471001"/>
            <ac:picMk id="88" creationId="{B9F40FA2-DFCF-444A-8C98-69F38C25CA5F}"/>
          </ac:picMkLst>
        </pc:picChg>
        <pc:picChg chg="mod">
          <ac:chgData name="Agarwal, Ritvika Agarwal" userId="b707b316-64a3-4610-910f-1bdb9cece827" providerId="ADAL" clId="{40E9E367-FD06-4E0A-88C6-B990B7860D72}" dt="2023-02-13T10:43:24.352" v="73"/>
          <ac:picMkLst>
            <pc:docMk/>
            <pc:sldMk cId="352092785" sldId="2147471001"/>
            <ac:picMk id="90" creationId="{6099D496-5C74-42C5-98E1-6CBC56792D36}"/>
          </ac:picMkLst>
        </pc:picChg>
        <pc:picChg chg="mod">
          <ac:chgData name="Agarwal, Ritvika Agarwal" userId="b707b316-64a3-4610-910f-1bdb9cece827" providerId="ADAL" clId="{40E9E367-FD06-4E0A-88C6-B990B7860D72}" dt="2023-02-13T10:43:24.352" v="73"/>
          <ac:picMkLst>
            <pc:docMk/>
            <pc:sldMk cId="352092785" sldId="2147471001"/>
            <ac:picMk id="92" creationId="{EF89ABA2-EF19-440D-9C20-4049AF58BF0F}"/>
          </ac:picMkLst>
        </pc:picChg>
        <pc:picChg chg="mod">
          <ac:chgData name="Agarwal, Ritvika Agarwal" userId="b707b316-64a3-4610-910f-1bdb9cece827" providerId="ADAL" clId="{40E9E367-FD06-4E0A-88C6-B990B7860D72}" dt="2023-02-13T10:43:24.352" v="73"/>
          <ac:picMkLst>
            <pc:docMk/>
            <pc:sldMk cId="352092785" sldId="2147471001"/>
            <ac:picMk id="94" creationId="{1D266A8B-FD4C-48C2-84E4-C4655083E98E}"/>
          </ac:picMkLst>
        </pc:picChg>
        <pc:cxnChg chg="mod topLvl">
          <ac:chgData name="Agarwal, Ritvika Agarwal" userId="b707b316-64a3-4610-910f-1bdb9cece827" providerId="ADAL" clId="{40E9E367-FD06-4E0A-88C6-B990B7860D72}" dt="2023-02-13T12:01:27.633" v="1114" actId="164"/>
          <ac:cxnSpMkLst>
            <pc:docMk/>
            <pc:sldMk cId="352092785" sldId="2147471001"/>
            <ac:cxnSpMk id="18" creationId="{CEDF712F-F4D9-4CB6-B81A-BF0F83CF531E}"/>
          </ac:cxnSpMkLst>
        </pc:cxnChg>
        <pc:cxnChg chg="del mod">
          <ac:chgData name="Agarwal, Ritvika Agarwal" userId="b707b316-64a3-4610-910f-1bdb9cece827" providerId="ADAL" clId="{40E9E367-FD06-4E0A-88C6-B990B7860D72}" dt="2023-02-13T10:43:11.597" v="70" actId="478"/>
          <ac:cxnSpMkLst>
            <pc:docMk/>
            <pc:sldMk cId="352092785" sldId="2147471001"/>
            <ac:cxnSpMk id="19" creationId="{0E39DF8A-D125-4787-8DC0-33A5C8E25CE7}"/>
          </ac:cxnSpMkLst>
        </pc:cxnChg>
        <pc:cxnChg chg="mod topLvl">
          <ac:chgData name="Agarwal, Ritvika Agarwal" userId="b707b316-64a3-4610-910f-1bdb9cece827" providerId="ADAL" clId="{40E9E367-FD06-4E0A-88C6-B990B7860D72}" dt="2023-02-13T12:01:27.633" v="1114" actId="164"/>
          <ac:cxnSpMkLst>
            <pc:docMk/>
            <pc:sldMk cId="352092785" sldId="2147471001"/>
            <ac:cxnSpMk id="19" creationId="{304BC25F-26BA-45E4-8CD9-733505FC720D}"/>
          </ac:cxnSpMkLst>
        </pc:cxnChg>
        <pc:cxnChg chg="del">
          <ac:chgData name="Agarwal, Ritvika Agarwal" userId="b707b316-64a3-4610-910f-1bdb9cece827" providerId="ADAL" clId="{40E9E367-FD06-4E0A-88C6-B990B7860D72}" dt="2023-02-13T10:43:11.597" v="70" actId="478"/>
          <ac:cxnSpMkLst>
            <pc:docMk/>
            <pc:sldMk cId="352092785" sldId="2147471001"/>
            <ac:cxnSpMk id="20" creationId="{C6B27895-2394-4F95-9959-B5315FDD6C7F}"/>
          </ac:cxnSpMkLst>
        </pc:cxnChg>
        <pc:cxnChg chg="mod topLvl">
          <ac:chgData name="Agarwal, Ritvika Agarwal" userId="b707b316-64a3-4610-910f-1bdb9cece827" providerId="ADAL" clId="{40E9E367-FD06-4E0A-88C6-B990B7860D72}" dt="2023-02-13T12:01:27.633" v="1114" actId="164"/>
          <ac:cxnSpMkLst>
            <pc:docMk/>
            <pc:sldMk cId="352092785" sldId="2147471001"/>
            <ac:cxnSpMk id="20" creationId="{D8A54585-96C1-4E4B-9E6B-C18E48226AB8}"/>
          </ac:cxnSpMkLst>
        </pc:cxnChg>
        <pc:cxnChg chg="mod topLvl">
          <ac:chgData name="Agarwal, Ritvika Agarwal" userId="b707b316-64a3-4610-910f-1bdb9cece827" providerId="ADAL" clId="{40E9E367-FD06-4E0A-88C6-B990B7860D72}" dt="2023-02-13T12:01:27.633" v="1114" actId="164"/>
          <ac:cxnSpMkLst>
            <pc:docMk/>
            <pc:sldMk cId="352092785" sldId="2147471001"/>
            <ac:cxnSpMk id="21" creationId="{E3F4B016-E994-474B-A7CC-DD0C6CD11422}"/>
          </ac:cxnSpMkLst>
        </pc:cxnChg>
        <pc:cxnChg chg="mod topLvl">
          <ac:chgData name="Agarwal, Ritvika Agarwal" userId="b707b316-64a3-4610-910f-1bdb9cece827" providerId="ADAL" clId="{40E9E367-FD06-4E0A-88C6-B990B7860D72}" dt="2023-02-13T12:01:27.633" v="1114" actId="164"/>
          <ac:cxnSpMkLst>
            <pc:docMk/>
            <pc:sldMk cId="352092785" sldId="2147471001"/>
            <ac:cxnSpMk id="22" creationId="{5A169FA9-F682-4CF3-AD7D-F1167232ED38}"/>
          </ac:cxnSpMkLst>
        </pc:cxnChg>
        <pc:cxnChg chg="del mod topLvl">
          <ac:chgData name="Agarwal, Ritvika Agarwal" userId="b707b316-64a3-4610-910f-1bdb9cece827" providerId="ADAL" clId="{40E9E367-FD06-4E0A-88C6-B990B7860D72}" dt="2023-02-13T11:59:40.314" v="1089" actId="21"/>
          <ac:cxnSpMkLst>
            <pc:docMk/>
            <pc:sldMk cId="352092785" sldId="2147471001"/>
            <ac:cxnSpMk id="23" creationId="{BFF0F6CB-91D8-4C2C-BA76-2FAD77809177}"/>
          </ac:cxnSpMkLst>
        </pc:cxnChg>
        <pc:cxnChg chg="del">
          <ac:chgData name="Agarwal, Ritvika Agarwal" userId="b707b316-64a3-4610-910f-1bdb9cece827" providerId="ADAL" clId="{40E9E367-FD06-4E0A-88C6-B990B7860D72}" dt="2023-02-13T10:43:11.597" v="70" actId="478"/>
          <ac:cxnSpMkLst>
            <pc:docMk/>
            <pc:sldMk cId="352092785" sldId="2147471001"/>
            <ac:cxnSpMk id="26" creationId="{BEE0EB78-F7C3-4E82-BB31-FDBEAA99B68C}"/>
          </ac:cxnSpMkLst>
        </pc:cxnChg>
        <pc:cxnChg chg="del">
          <ac:chgData name="Agarwal, Ritvika Agarwal" userId="b707b316-64a3-4610-910f-1bdb9cece827" providerId="ADAL" clId="{40E9E367-FD06-4E0A-88C6-B990B7860D72}" dt="2023-02-13T10:43:11.597" v="70" actId="478"/>
          <ac:cxnSpMkLst>
            <pc:docMk/>
            <pc:sldMk cId="352092785" sldId="2147471001"/>
            <ac:cxnSpMk id="27" creationId="{880AB213-F0BF-450B-8783-19674C04C15F}"/>
          </ac:cxnSpMkLst>
        </pc:cxnChg>
        <pc:cxnChg chg="del">
          <ac:chgData name="Agarwal, Ritvika Agarwal" userId="b707b316-64a3-4610-910f-1bdb9cece827" providerId="ADAL" clId="{40E9E367-FD06-4E0A-88C6-B990B7860D72}" dt="2023-02-13T10:43:11.597" v="70" actId="478"/>
          <ac:cxnSpMkLst>
            <pc:docMk/>
            <pc:sldMk cId="352092785" sldId="2147471001"/>
            <ac:cxnSpMk id="28" creationId="{8A33BFB9-8637-4491-8BC7-DF1CBE6D0115}"/>
          </ac:cxnSpMkLst>
        </pc:cxnChg>
        <pc:cxnChg chg="del">
          <ac:chgData name="Agarwal, Ritvika Agarwal" userId="b707b316-64a3-4610-910f-1bdb9cece827" providerId="ADAL" clId="{40E9E367-FD06-4E0A-88C6-B990B7860D72}" dt="2023-02-13T10:43:11.597" v="70" actId="478"/>
          <ac:cxnSpMkLst>
            <pc:docMk/>
            <pc:sldMk cId="352092785" sldId="2147471001"/>
            <ac:cxnSpMk id="29" creationId="{DCFB520D-DFC8-46CE-B102-71869FDBFF60}"/>
          </ac:cxnSpMkLst>
        </pc:cxnChg>
        <pc:cxnChg chg="del mod topLvl">
          <ac:chgData name="Agarwal, Ritvika Agarwal" userId="b707b316-64a3-4610-910f-1bdb9cece827" providerId="ADAL" clId="{40E9E367-FD06-4E0A-88C6-B990B7860D72}" dt="2023-02-13T11:58:22.506" v="1073" actId="478"/>
          <ac:cxnSpMkLst>
            <pc:docMk/>
            <pc:sldMk cId="352092785" sldId="2147471001"/>
            <ac:cxnSpMk id="32" creationId="{E39EAC3E-A55E-40AA-8588-F4F52AC0084B}"/>
          </ac:cxnSpMkLst>
        </pc:cxnChg>
        <pc:cxnChg chg="add mod">
          <ac:chgData name="Agarwal, Ritvika Agarwal" userId="b707b316-64a3-4610-910f-1bdb9cece827" providerId="ADAL" clId="{40E9E367-FD06-4E0A-88C6-B990B7860D72}" dt="2023-02-13T12:01:27.633" v="1114" actId="164"/>
          <ac:cxnSpMkLst>
            <pc:docMk/>
            <pc:sldMk cId="352092785" sldId="2147471001"/>
            <ac:cxnSpMk id="51" creationId="{560ACB24-2122-47E9-8DB7-3382E7921BC0}"/>
          </ac:cxnSpMkLst>
        </pc:cxnChg>
        <pc:cxnChg chg="add mod">
          <ac:chgData name="Agarwal, Ritvika Agarwal" userId="b707b316-64a3-4610-910f-1bdb9cece827" providerId="ADAL" clId="{40E9E367-FD06-4E0A-88C6-B990B7860D72}" dt="2023-02-13T12:01:27.633" v="1114" actId="164"/>
          <ac:cxnSpMkLst>
            <pc:docMk/>
            <pc:sldMk cId="352092785" sldId="2147471001"/>
            <ac:cxnSpMk id="55" creationId="{8855C3D9-312C-4C8E-BD31-46F94B185BD6}"/>
          </ac:cxnSpMkLst>
        </pc:cxnChg>
        <pc:cxnChg chg="del">
          <ac:chgData name="Agarwal, Ritvika Agarwal" userId="b707b316-64a3-4610-910f-1bdb9cece827" providerId="ADAL" clId="{40E9E367-FD06-4E0A-88C6-B990B7860D72}" dt="2023-02-13T10:43:11.597" v="70" actId="478"/>
          <ac:cxnSpMkLst>
            <pc:docMk/>
            <pc:sldMk cId="352092785" sldId="2147471001"/>
            <ac:cxnSpMk id="59" creationId="{E1208AD4-2677-4C5E-B8EF-3190860324CD}"/>
          </ac:cxnSpMkLst>
        </pc:cxnChg>
        <pc:cxnChg chg="mod">
          <ac:chgData name="Agarwal, Ritvika Agarwal" userId="b707b316-64a3-4610-910f-1bdb9cece827" providerId="ADAL" clId="{40E9E367-FD06-4E0A-88C6-B990B7860D72}" dt="2023-02-13T10:43:24.352" v="73"/>
          <ac:cxnSpMkLst>
            <pc:docMk/>
            <pc:sldMk cId="352092785" sldId="2147471001"/>
            <ac:cxnSpMk id="61" creationId="{0E157EA5-A1D0-4A52-8D55-9954B8A3B61D}"/>
          </ac:cxnSpMkLst>
        </pc:cxnChg>
        <pc:cxnChg chg="mod">
          <ac:chgData name="Agarwal, Ritvika Agarwal" userId="b707b316-64a3-4610-910f-1bdb9cece827" providerId="ADAL" clId="{40E9E367-FD06-4E0A-88C6-B990B7860D72}" dt="2023-02-13T10:43:24.352" v="73"/>
          <ac:cxnSpMkLst>
            <pc:docMk/>
            <pc:sldMk cId="352092785" sldId="2147471001"/>
            <ac:cxnSpMk id="62" creationId="{79425825-78D6-4A54-97DD-739308775EEC}"/>
          </ac:cxnSpMkLst>
        </pc:cxnChg>
        <pc:cxnChg chg="mod">
          <ac:chgData name="Agarwal, Ritvika Agarwal" userId="b707b316-64a3-4610-910f-1bdb9cece827" providerId="ADAL" clId="{40E9E367-FD06-4E0A-88C6-B990B7860D72}" dt="2023-02-13T10:43:24.352" v="73"/>
          <ac:cxnSpMkLst>
            <pc:docMk/>
            <pc:sldMk cId="352092785" sldId="2147471001"/>
            <ac:cxnSpMk id="63" creationId="{F9014185-5872-4DE7-A744-611DD28BF0E8}"/>
          </ac:cxnSpMkLst>
        </pc:cxnChg>
        <pc:cxnChg chg="mod">
          <ac:chgData name="Agarwal, Ritvika Agarwal" userId="b707b316-64a3-4610-910f-1bdb9cece827" providerId="ADAL" clId="{40E9E367-FD06-4E0A-88C6-B990B7860D72}" dt="2023-02-13T10:43:24.352" v="73"/>
          <ac:cxnSpMkLst>
            <pc:docMk/>
            <pc:sldMk cId="352092785" sldId="2147471001"/>
            <ac:cxnSpMk id="64" creationId="{13C25DC3-8931-40DD-8802-78B1EF9B1189}"/>
          </ac:cxnSpMkLst>
        </pc:cxnChg>
        <pc:cxnChg chg="mod">
          <ac:chgData name="Agarwal, Ritvika Agarwal" userId="b707b316-64a3-4610-910f-1bdb9cece827" providerId="ADAL" clId="{40E9E367-FD06-4E0A-88C6-B990B7860D72}" dt="2023-02-13T10:43:24.352" v="73"/>
          <ac:cxnSpMkLst>
            <pc:docMk/>
            <pc:sldMk cId="352092785" sldId="2147471001"/>
            <ac:cxnSpMk id="65" creationId="{A3ED6F06-6587-4619-965D-1A639D623B48}"/>
          </ac:cxnSpMkLst>
        </pc:cxnChg>
        <pc:cxnChg chg="mod">
          <ac:chgData name="Agarwal, Ritvika Agarwal" userId="b707b316-64a3-4610-910f-1bdb9cece827" providerId="ADAL" clId="{40E9E367-FD06-4E0A-88C6-B990B7860D72}" dt="2023-02-13T10:43:24.352" v="73"/>
          <ac:cxnSpMkLst>
            <pc:docMk/>
            <pc:sldMk cId="352092785" sldId="2147471001"/>
            <ac:cxnSpMk id="66" creationId="{BE872F75-078D-4280-BFCD-DB6668690DAE}"/>
          </ac:cxnSpMkLst>
        </pc:cxnChg>
      </pc:sldChg>
      <pc:sldChg chg="modSp mod">
        <pc:chgData name="Agarwal, Ritvika Agarwal" userId="b707b316-64a3-4610-910f-1bdb9cece827" providerId="ADAL" clId="{40E9E367-FD06-4E0A-88C6-B990B7860D72}" dt="2023-02-13T11:33:47.220" v="872" actId="1076"/>
        <pc:sldMkLst>
          <pc:docMk/>
          <pc:sldMk cId="1317580537" sldId="2147471044"/>
        </pc:sldMkLst>
        <pc:graphicFrameChg chg="mod modGraphic">
          <ac:chgData name="Agarwal, Ritvika Agarwal" userId="b707b316-64a3-4610-910f-1bdb9cece827" providerId="ADAL" clId="{40E9E367-FD06-4E0A-88C6-B990B7860D72}" dt="2023-02-13T11:33:47.220" v="872" actId="1076"/>
          <ac:graphicFrameMkLst>
            <pc:docMk/>
            <pc:sldMk cId="1317580537" sldId="2147471044"/>
            <ac:graphicFrameMk id="31" creationId="{86D29932-240A-4696-A6BC-848BC6CFD33E}"/>
          </ac:graphicFrameMkLst>
        </pc:graphicFrameChg>
      </pc:sldChg>
      <pc:sldChg chg="addSp delSp modSp mod">
        <pc:chgData name="Agarwal, Ritvika Agarwal" userId="b707b316-64a3-4610-910f-1bdb9cece827" providerId="ADAL" clId="{40E9E367-FD06-4E0A-88C6-B990B7860D72}" dt="2023-02-13T12:06:41.222" v="1259" actId="1076"/>
        <pc:sldMkLst>
          <pc:docMk/>
          <pc:sldMk cId="1301746540" sldId="2147471048"/>
        </pc:sldMkLst>
        <pc:spChg chg="mod">
          <ac:chgData name="Agarwal, Ritvika Agarwal" userId="b707b316-64a3-4610-910f-1bdb9cece827" providerId="ADAL" clId="{40E9E367-FD06-4E0A-88C6-B990B7860D72}" dt="2023-02-13T12:05:58.569" v="1246" actId="1076"/>
          <ac:spMkLst>
            <pc:docMk/>
            <pc:sldMk cId="1301746540" sldId="2147471048"/>
            <ac:spMk id="2" creationId="{983642F4-A8BC-41B4-A292-F7F8D7D64DBA}"/>
          </ac:spMkLst>
        </pc:spChg>
        <pc:spChg chg="mod">
          <ac:chgData name="Agarwal, Ritvika Agarwal" userId="b707b316-64a3-4610-910f-1bdb9cece827" providerId="ADAL" clId="{40E9E367-FD06-4E0A-88C6-B990B7860D72}" dt="2023-02-13T11:37:54.169" v="926" actId="948"/>
          <ac:spMkLst>
            <pc:docMk/>
            <pc:sldMk cId="1301746540" sldId="2147471048"/>
            <ac:spMk id="3" creationId="{0ACDAAA1-58A0-4A1F-AB0C-44C5DAA47DFF}"/>
          </ac:spMkLst>
        </pc:spChg>
        <pc:spChg chg="del">
          <ac:chgData name="Agarwal, Ritvika Agarwal" userId="b707b316-64a3-4610-910f-1bdb9cece827" providerId="ADAL" clId="{40E9E367-FD06-4E0A-88C6-B990B7860D72}" dt="2023-02-13T12:06:01.509" v="1247" actId="478"/>
          <ac:spMkLst>
            <pc:docMk/>
            <pc:sldMk cId="1301746540" sldId="2147471048"/>
            <ac:spMk id="7" creationId="{3679E102-A189-49FB-834B-9C9B40CCFFF3}"/>
          </ac:spMkLst>
        </pc:spChg>
        <pc:spChg chg="mod">
          <ac:chgData name="Agarwal, Ritvika Agarwal" userId="b707b316-64a3-4610-910f-1bdb9cece827" providerId="ADAL" clId="{40E9E367-FD06-4E0A-88C6-B990B7860D72}" dt="2023-02-13T12:06:16.817" v="1255" actId="20577"/>
          <ac:spMkLst>
            <pc:docMk/>
            <pc:sldMk cId="1301746540" sldId="2147471048"/>
            <ac:spMk id="9" creationId="{D2AFDEAB-FFC7-4B4D-99B8-D1A5C545D6D6}"/>
          </ac:spMkLst>
        </pc:spChg>
        <pc:spChg chg="mod">
          <ac:chgData name="Agarwal, Ritvika Agarwal" userId="b707b316-64a3-4610-910f-1bdb9cece827" providerId="ADAL" clId="{40E9E367-FD06-4E0A-88C6-B990B7860D72}" dt="2023-02-13T11:43:23.829" v="949" actId="113"/>
          <ac:spMkLst>
            <pc:docMk/>
            <pc:sldMk cId="1301746540" sldId="2147471048"/>
            <ac:spMk id="12" creationId="{C30DE4ED-05D8-450A-82B9-66388C9ACCDF}"/>
          </ac:spMkLst>
        </pc:spChg>
        <pc:spChg chg="mod">
          <ac:chgData name="Agarwal, Ritvika Agarwal" userId="b707b316-64a3-4610-910f-1bdb9cece827" providerId="ADAL" clId="{40E9E367-FD06-4E0A-88C6-B990B7860D72}" dt="2023-02-13T11:38:33.229" v="938" actId="164"/>
          <ac:spMkLst>
            <pc:docMk/>
            <pc:sldMk cId="1301746540" sldId="2147471048"/>
            <ac:spMk id="15" creationId="{5FC53AAC-21B3-4C77-AE67-6A25849B555B}"/>
          </ac:spMkLst>
        </pc:spChg>
        <pc:spChg chg="mod">
          <ac:chgData name="Agarwal, Ritvika Agarwal" userId="b707b316-64a3-4610-910f-1bdb9cece827" providerId="ADAL" clId="{40E9E367-FD06-4E0A-88C6-B990B7860D72}" dt="2023-02-13T12:05:02.650" v="1183" actId="1036"/>
          <ac:spMkLst>
            <pc:docMk/>
            <pc:sldMk cId="1301746540" sldId="2147471048"/>
            <ac:spMk id="17" creationId="{4BE8BCB2-C327-4FE7-9CAE-5BD227C14160}"/>
          </ac:spMkLst>
        </pc:spChg>
        <pc:grpChg chg="add mod">
          <ac:chgData name="Agarwal, Ritvika Agarwal" userId="b707b316-64a3-4610-910f-1bdb9cece827" providerId="ADAL" clId="{40E9E367-FD06-4E0A-88C6-B990B7860D72}" dt="2023-02-13T12:05:32.675" v="1213" actId="1036"/>
          <ac:grpSpMkLst>
            <pc:docMk/>
            <pc:sldMk cId="1301746540" sldId="2147471048"/>
            <ac:grpSpMk id="4" creationId="{00C33101-B747-4A3C-9A07-56973317DCEF}"/>
          </ac:grpSpMkLst>
        </pc:grpChg>
        <pc:grpChg chg="mod">
          <ac:chgData name="Agarwal, Ritvika Agarwal" userId="b707b316-64a3-4610-910f-1bdb9cece827" providerId="ADAL" clId="{40E9E367-FD06-4E0A-88C6-B990B7860D72}" dt="2023-02-13T12:06:41.222" v="1259" actId="1076"/>
          <ac:grpSpMkLst>
            <pc:docMk/>
            <pc:sldMk cId="1301746540" sldId="2147471048"/>
            <ac:grpSpMk id="8" creationId="{9D024791-FE8F-4517-88F4-25CF79F96B01}"/>
          </ac:grpSpMkLst>
        </pc:grpChg>
        <pc:grpChg chg="mod">
          <ac:chgData name="Agarwal, Ritvika Agarwal" userId="b707b316-64a3-4610-910f-1bdb9cece827" providerId="ADAL" clId="{40E9E367-FD06-4E0A-88C6-B990B7860D72}" dt="2023-02-13T12:06:36.289" v="1258" actId="1076"/>
          <ac:grpSpMkLst>
            <pc:docMk/>
            <pc:sldMk cId="1301746540" sldId="2147471048"/>
            <ac:grpSpMk id="11" creationId="{C7162F3D-8900-48B3-9ECE-35EB696D7E93}"/>
          </ac:grpSpMkLst>
        </pc:grpChg>
        <pc:cxnChg chg="mod">
          <ac:chgData name="Agarwal, Ritvika Agarwal" userId="b707b316-64a3-4610-910f-1bdb9cece827" providerId="ADAL" clId="{40E9E367-FD06-4E0A-88C6-B990B7860D72}" dt="2023-02-13T11:38:33.229" v="938" actId="164"/>
          <ac:cxnSpMkLst>
            <pc:docMk/>
            <pc:sldMk cId="1301746540" sldId="2147471048"/>
            <ac:cxnSpMk id="14" creationId="{E228C77A-8D24-4BBF-A46E-90E8C47DFE6B}"/>
          </ac:cxnSpMkLst>
        </pc:cxnChg>
      </pc:sldChg>
      <pc:sldChg chg="addSp modSp mod">
        <pc:chgData name="Agarwal, Ritvika Agarwal" userId="b707b316-64a3-4610-910f-1bdb9cece827" providerId="ADAL" clId="{40E9E367-FD06-4E0A-88C6-B990B7860D72}" dt="2023-02-13T12:07:03.425" v="1261" actId="120"/>
        <pc:sldMkLst>
          <pc:docMk/>
          <pc:sldMk cId="2921878727" sldId="2147471050"/>
        </pc:sldMkLst>
        <pc:spChg chg="add mod">
          <ac:chgData name="Agarwal, Ritvika Agarwal" userId="b707b316-64a3-4610-910f-1bdb9cece827" providerId="ADAL" clId="{40E9E367-FD06-4E0A-88C6-B990B7860D72}" dt="2023-02-13T11:53:53.620" v="1023"/>
          <ac:spMkLst>
            <pc:docMk/>
            <pc:sldMk cId="2921878727" sldId="2147471050"/>
            <ac:spMk id="7" creationId="{B5AF4F8B-9256-49F9-A4FD-9FD26FAE66AE}"/>
          </ac:spMkLst>
        </pc:spChg>
        <pc:graphicFrameChg chg="mod modGraphic">
          <ac:chgData name="Agarwal, Ritvika Agarwal" userId="b707b316-64a3-4610-910f-1bdb9cece827" providerId="ADAL" clId="{40E9E367-FD06-4E0A-88C6-B990B7860D72}" dt="2023-02-13T12:07:03.425" v="1261" actId="120"/>
          <ac:graphicFrameMkLst>
            <pc:docMk/>
            <pc:sldMk cId="2921878727" sldId="2147471050"/>
            <ac:graphicFrameMk id="17" creationId="{00000000-0000-0000-0000-000000000000}"/>
          </ac:graphicFrameMkLst>
        </pc:graphicFrameChg>
      </pc:sldChg>
      <pc:sldChg chg="modSp mod">
        <pc:chgData name="Agarwal, Ritvika Agarwal" userId="b707b316-64a3-4610-910f-1bdb9cece827" providerId="ADAL" clId="{40E9E367-FD06-4E0A-88C6-B990B7860D72}" dt="2023-02-13T11:37:10.435" v="898" actId="1035"/>
        <pc:sldMkLst>
          <pc:docMk/>
          <pc:sldMk cId="3571490006" sldId="2147471052"/>
        </pc:sldMkLst>
        <pc:spChg chg="mod">
          <ac:chgData name="Agarwal, Ritvika Agarwal" userId="b707b316-64a3-4610-910f-1bdb9cece827" providerId="ADAL" clId="{40E9E367-FD06-4E0A-88C6-B990B7860D72}" dt="2023-02-13T11:37:10.435" v="898" actId="1035"/>
          <ac:spMkLst>
            <pc:docMk/>
            <pc:sldMk cId="3571490006" sldId="2147471052"/>
            <ac:spMk id="5" creationId="{3C25657C-19D4-4B93-B96C-DACEDD67D364}"/>
          </ac:spMkLst>
        </pc:spChg>
        <pc:grpChg chg="mod">
          <ac:chgData name="Agarwal, Ritvika Agarwal" userId="b707b316-64a3-4610-910f-1bdb9cece827" providerId="ADAL" clId="{40E9E367-FD06-4E0A-88C6-B990B7860D72}" dt="2023-02-13T11:36:56.303" v="889" actId="1076"/>
          <ac:grpSpMkLst>
            <pc:docMk/>
            <pc:sldMk cId="3571490006" sldId="2147471052"/>
            <ac:grpSpMk id="11" creationId="{A194F7BF-F839-4BDD-8EDA-2D88A7A2938A}"/>
          </ac:grpSpMkLst>
        </pc:grpChg>
      </pc:sldChg>
      <pc:sldChg chg="addSp modSp mod">
        <pc:chgData name="Agarwal, Ritvika Agarwal" userId="b707b316-64a3-4610-910f-1bdb9cece827" providerId="ADAL" clId="{40E9E367-FD06-4E0A-88C6-B990B7860D72}" dt="2023-02-13T12:04:41.982" v="1153" actId="14100"/>
        <pc:sldMkLst>
          <pc:docMk/>
          <pc:sldMk cId="2949949596" sldId="2147471053"/>
        </pc:sldMkLst>
        <pc:spChg chg="mod">
          <ac:chgData name="Agarwal, Ritvika Agarwal" userId="b707b316-64a3-4610-910f-1bdb9cece827" providerId="ADAL" clId="{40E9E367-FD06-4E0A-88C6-B990B7860D72}" dt="2023-02-13T12:04:41.982" v="1153" actId="14100"/>
          <ac:spMkLst>
            <pc:docMk/>
            <pc:sldMk cId="2949949596" sldId="2147471053"/>
            <ac:spMk id="2" creationId="{D4D33B79-B49F-F810-6C69-FC4BEAAB5699}"/>
          </ac:spMkLst>
        </pc:spChg>
        <pc:spChg chg="mod">
          <ac:chgData name="Agarwal, Ritvika Agarwal" userId="b707b316-64a3-4610-910f-1bdb9cece827" providerId="ADAL" clId="{40E9E367-FD06-4E0A-88C6-B990B7860D72}" dt="2023-02-13T12:04:30.913" v="1135" actId="164"/>
          <ac:spMkLst>
            <pc:docMk/>
            <pc:sldMk cId="2949949596" sldId="2147471053"/>
            <ac:spMk id="3" creationId="{B5C07C29-1D53-7FCB-9BC1-EA2AFD62A44C}"/>
          </ac:spMkLst>
        </pc:spChg>
        <pc:grpChg chg="add mod">
          <ac:chgData name="Agarwal, Ritvika Agarwal" userId="b707b316-64a3-4610-910f-1bdb9cece827" providerId="ADAL" clId="{40E9E367-FD06-4E0A-88C6-B990B7860D72}" dt="2023-02-13T12:04:34.460" v="1151" actId="1036"/>
          <ac:grpSpMkLst>
            <pc:docMk/>
            <pc:sldMk cId="2949949596" sldId="2147471053"/>
            <ac:grpSpMk id="4" creationId="{0816173C-BE67-4939-800B-8500D1B2E5A0}"/>
          </ac:grpSpMkLst>
        </pc:grpChg>
        <pc:grpChg chg="mod">
          <ac:chgData name="Agarwal, Ritvika Agarwal" userId="b707b316-64a3-4610-910f-1bdb9cece827" providerId="ADAL" clId="{40E9E367-FD06-4E0A-88C6-B990B7860D72}" dt="2023-02-13T11:34:40.678" v="878" actId="1076"/>
          <ac:grpSpMkLst>
            <pc:docMk/>
            <pc:sldMk cId="2949949596" sldId="2147471053"/>
            <ac:grpSpMk id="19" creationId="{3AB97157-3F63-4E5A-882D-0F33808D87AF}"/>
          </ac:grpSpMkLst>
        </pc:grpChg>
        <pc:graphicFrameChg chg="mod modGraphic">
          <ac:chgData name="Agarwal, Ritvika Agarwal" userId="b707b316-64a3-4610-910f-1bdb9cece827" providerId="ADAL" clId="{40E9E367-FD06-4E0A-88C6-B990B7860D72}" dt="2023-02-13T11:34:30.952" v="877" actId="1076"/>
          <ac:graphicFrameMkLst>
            <pc:docMk/>
            <pc:sldMk cId="2949949596" sldId="2147471053"/>
            <ac:graphicFrameMk id="17" creationId="{00000000-0000-0000-0000-000000000000}"/>
          </ac:graphicFrameMkLst>
        </pc:graphicFrameChg>
      </pc:sldChg>
      <pc:sldChg chg="modSp mod">
        <pc:chgData name="Agarwal, Ritvika Agarwal" userId="b707b316-64a3-4610-910f-1bdb9cece827" providerId="ADAL" clId="{40E9E367-FD06-4E0A-88C6-B990B7860D72}" dt="2023-02-13T11:34:09.594" v="874" actId="1076"/>
        <pc:sldMkLst>
          <pc:docMk/>
          <pc:sldMk cId="1157826573" sldId="2147471055"/>
        </pc:sldMkLst>
        <pc:graphicFrameChg chg="mod modGraphic">
          <ac:chgData name="Agarwal, Ritvika Agarwal" userId="b707b316-64a3-4610-910f-1bdb9cece827" providerId="ADAL" clId="{40E9E367-FD06-4E0A-88C6-B990B7860D72}" dt="2023-02-13T11:34:09.594" v="874" actId="1076"/>
          <ac:graphicFrameMkLst>
            <pc:docMk/>
            <pc:sldMk cId="1157826573" sldId="2147471055"/>
            <ac:graphicFrameMk id="31" creationId="{86D29932-240A-4696-A6BC-848BC6CFD33E}"/>
          </ac:graphicFrameMkLst>
        </pc:graphicFrameChg>
      </pc:sldChg>
      <pc:sldChg chg="modSp mod">
        <pc:chgData name="Agarwal, Ritvika Agarwal" userId="b707b316-64a3-4610-910f-1bdb9cece827" providerId="ADAL" clId="{40E9E367-FD06-4E0A-88C6-B990B7860D72}" dt="2023-02-13T11:01:57.873" v="331" actId="1076"/>
        <pc:sldMkLst>
          <pc:docMk/>
          <pc:sldMk cId="3779177291" sldId="2147471057"/>
        </pc:sldMkLst>
        <pc:graphicFrameChg chg="mod modGraphic">
          <ac:chgData name="Agarwal, Ritvika Agarwal" userId="b707b316-64a3-4610-910f-1bdb9cece827" providerId="ADAL" clId="{40E9E367-FD06-4E0A-88C6-B990B7860D72}" dt="2023-02-13T11:01:57.873" v="331" actId="1076"/>
          <ac:graphicFrameMkLst>
            <pc:docMk/>
            <pc:sldMk cId="3779177291" sldId="2147471057"/>
            <ac:graphicFrameMk id="31" creationId="{86D29932-240A-4696-A6BC-848BC6CFD33E}"/>
          </ac:graphicFrameMkLst>
        </pc:graphicFrameChg>
      </pc:sldChg>
      <pc:sldChg chg="modSp del mod">
        <pc:chgData name="Agarwal, Ritvika Agarwal" userId="b707b316-64a3-4610-910f-1bdb9cece827" providerId="ADAL" clId="{40E9E367-FD06-4E0A-88C6-B990B7860D72}" dt="2023-02-13T11:51:26.878" v="1008" actId="47"/>
        <pc:sldMkLst>
          <pc:docMk/>
          <pc:sldMk cId="277655638" sldId="2147471058"/>
        </pc:sldMkLst>
        <pc:spChg chg="mod">
          <ac:chgData name="Agarwal, Ritvika Agarwal" userId="b707b316-64a3-4610-910f-1bdb9cece827" providerId="ADAL" clId="{40E9E367-FD06-4E0A-88C6-B990B7860D72}" dt="2023-02-13T11:45:57.911" v="995" actId="113"/>
          <ac:spMkLst>
            <pc:docMk/>
            <pc:sldMk cId="277655638" sldId="2147471058"/>
            <ac:spMk id="15" creationId="{00000000-0000-0000-0000-000000000000}"/>
          </ac:spMkLst>
        </pc:spChg>
        <pc:graphicFrameChg chg="mod">
          <ac:chgData name="Agarwal, Ritvika Agarwal" userId="b707b316-64a3-4610-910f-1bdb9cece827" providerId="ADAL" clId="{40E9E367-FD06-4E0A-88C6-B990B7860D72}" dt="2023-02-13T11:46:13.490" v="997" actId="1076"/>
          <ac:graphicFrameMkLst>
            <pc:docMk/>
            <pc:sldMk cId="277655638" sldId="2147471058"/>
            <ac:graphicFrameMk id="3" creationId="{9A9CE12A-933A-4841-818D-C67D218C7380}"/>
          </ac:graphicFrameMkLst>
        </pc:graphicFrameChg>
      </pc:sldChg>
      <pc:sldChg chg="modSp mod">
        <pc:chgData name="Agarwal, Ritvika Agarwal" userId="b707b316-64a3-4610-910f-1bdb9cece827" providerId="ADAL" clId="{40E9E367-FD06-4E0A-88C6-B990B7860D72}" dt="2023-02-13T11:36:29.662" v="888" actId="255"/>
        <pc:sldMkLst>
          <pc:docMk/>
          <pc:sldMk cId="1267791050" sldId="2147471059"/>
        </pc:sldMkLst>
        <pc:spChg chg="mod">
          <ac:chgData name="Agarwal, Ritvika Agarwal" userId="b707b316-64a3-4610-910f-1bdb9cece827" providerId="ADAL" clId="{40E9E367-FD06-4E0A-88C6-B990B7860D72}" dt="2023-02-13T11:36:09.883" v="886" actId="255"/>
          <ac:spMkLst>
            <pc:docMk/>
            <pc:sldMk cId="1267791050" sldId="2147471059"/>
            <ac:spMk id="2" creationId="{D4D33B79-B49F-F810-6C69-FC4BEAAB5699}"/>
          </ac:spMkLst>
        </pc:spChg>
        <pc:spChg chg="mod">
          <ac:chgData name="Agarwal, Ritvika Agarwal" userId="b707b316-64a3-4610-910f-1bdb9cece827" providerId="ADAL" clId="{40E9E367-FD06-4E0A-88C6-B990B7860D72}" dt="2023-02-13T11:36:01.531" v="885" actId="255"/>
          <ac:spMkLst>
            <pc:docMk/>
            <pc:sldMk cId="1267791050" sldId="2147471059"/>
            <ac:spMk id="3" creationId="{B5C07C29-1D53-7FCB-9BC1-EA2AFD62A44C}"/>
          </ac:spMkLst>
        </pc:spChg>
        <pc:spChg chg="mod">
          <ac:chgData name="Agarwal, Ritvika Agarwal" userId="b707b316-64a3-4610-910f-1bdb9cece827" providerId="ADAL" clId="{40E9E367-FD06-4E0A-88C6-B990B7860D72}" dt="2023-02-13T11:36:29.662" v="888" actId="255"/>
          <ac:spMkLst>
            <pc:docMk/>
            <pc:sldMk cId="1267791050" sldId="2147471059"/>
            <ac:spMk id="4" creationId="{7FDDA687-E645-EC1C-10EA-1785F7FFDF9D}"/>
          </ac:spMkLst>
        </pc:spChg>
        <pc:spChg chg="mod">
          <ac:chgData name="Agarwal, Ritvika Agarwal" userId="b707b316-64a3-4610-910f-1bdb9cece827" providerId="ADAL" clId="{40E9E367-FD06-4E0A-88C6-B990B7860D72}" dt="2023-02-13T11:31:56.558" v="859" actId="14100"/>
          <ac:spMkLst>
            <pc:docMk/>
            <pc:sldMk cId="1267791050" sldId="2147471059"/>
            <ac:spMk id="5" creationId="{3C25657C-19D4-4B93-B96C-DACEDD67D364}"/>
          </ac:spMkLst>
        </pc:spChg>
        <pc:spChg chg="mod">
          <ac:chgData name="Agarwal, Ritvika Agarwal" userId="b707b316-64a3-4610-910f-1bdb9cece827" providerId="ADAL" clId="{40E9E367-FD06-4E0A-88C6-B990B7860D72}" dt="2023-02-13T11:36:19.757" v="887" actId="255"/>
          <ac:spMkLst>
            <pc:docMk/>
            <pc:sldMk cId="1267791050" sldId="2147471059"/>
            <ac:spMk id="8" creationId="{999EAD73-08BA-0FBB-1276-BB674D117168}"/>
          </ac:spMkLst>
        </pc:spChg>
        <pc:graphicFrameChg chg="mod modGraphic">
          <ac:chgData name="Agarwal, Ritvika Agarwal" userId="b707b316-64a3-4610-910f-1bdb9cece827" providerId="ADAL" clId="{40E9E367-FD06-4E0A-88C6-B990B7860D72}" dt="2023-02-13T11:32:09.770" v="860" actId="403"/>
          <ac:graphicFrameMkLst>
            <pc:docMk/>
            <pc:sldMk cId="1267791050" sldId="2147471059"/>
            <ac:graphicFrameMk id="17" creationId="{00000000-0000-0000-0000-000000000000}"/>
          </ac:graphicFrameMkLst>
        </pc:graphicFrameChg>
      </pc:sldChg>
      <pc:sldChg chg="addSp modSp mod">
        <pc:chgData name="Agarwal, Ritvika Agarwal" userId="b707b316-64a3-4610-910f-1bdb9cece827" providerId="ADAL" clId="{40E9E367-FD06-4E0A-88C6-B990B7860D72}" dt="2023-02-13T12:06:57.901" v="1260" actId="120"/>
        <pc:sldMkLst>
          <pc:docMk/>
          <pc:sldMk cId="2071297880" sldId="2147471060"/>
        </pc:sldMkLst>
        <pc:spChg chg="add mod">
          <ac:chgData name="Agarwal, Ritvika Agarwal" userId="b707b316-64a3-4610-910f-1bdb9cece827" providerId="ADAL" clId="{40E9E367-FD06-4E0A-88C6-B990B7860D72}" dt="2023-02-13T11:53:58.355" v="1024"/>
          <ac:spMkLst>
            <pc:docMk/>
            <pc:sldMk cId="2071297880" sldId="2147471060"/>
            <ac:spMk id="7" creationId="{827A3002-450F-469D-B917-B46831848A69}"/>
          </ac:spMkLst>
        </pc:spChg>
        <pc:graphicFrameChg chg="mod modGraphic">
          <ac:chgData name="Agarwal, Ritvika Agarwal" userId="b707b316-64a3-4610-910f-1bdb9cece827" providerId="ADAL" clId="{40E9E367-FD06-4E0A-88C6-B990B7860D72}" dt="2023-02-13T12:06:57.901" v="1260" actId="120"/>
          <ac:graphicFrameMkLst>
            <pc:docMk/>
            <pc:sldMk cId="2071297880" sldId="2147471060"/>
            <ac:graphicFrameMk id="17" creationId="{00000000-0000-0000-0000-000000000000}"/>
          </ac:graphicFrameMkLst>
        </pc:graphicFrameChg>
      </pc:sldChg>
      <pc:sldChg chg="addSp delSp modSp new mod">
        <pc:chgData name="Agarwal, Ritvika Agarwal" userId="b707b316-64a3-4610-910f-1bdb9cece827" providerId="ADAL" clId="{40E9E367-FD06-4E0A-88C6-B990B7860D72}" dt="2023-02-13T11:53:18.102" v="1022" actId="1076"/>
        <pc:sldMkLst>
          <pc:docMk/>
          <pc:sldMk cId="1965610247" sldId="2147471061"/>
        </pc:sldMkLst>
        <pc:spChg chg="del">
          <ac:chgData name="Agarwal, Ritvika Agarwal" userId="b707b316-64a3-4610-910f-1bdb9cece827" providerId="ADAL" clId="{40E9E367-FD06-4E0A-88C6-B990B7860D72}" dt="2023-02-13T11:50:46.266" v="1000" actId="478"/>
          <ac:spMkLst>
            <pc:docMk/>
            <pc:sldMk cId="1965610247" sldId="2147471061"/>
            <ac:spMk id="2" creationId="{1E333027-4C54-4DD9-83AF-56444C160635}"/>
          </ac:spMkLst>
        </pc:spChg>
        <pc:spChg chg="mod">
          <ac:chgData name="Agarwal, Ritvika Agarwal" userId="b707b316-64a3-4610-910f-1bdb9cece827" providerId="ADAL" clId="{40E9E367-FD06-4E0A-88C6-B990B7860D72}" dt="2023-02-13T11:53:18.102" v="1022" actId="1076"/>
          <ac:spMkLst>
            <pc:docMk/>
            <pc:sldMk cId="1965610247" sldId="2147471061"/>
            <ac:spMk id="4" creationId="{9BA54329-FE75-463F-A9AB-6CB4BBB0E33C}"/>
          </ac:spMkLst>
        </pc:spChg>
        <pc:graphicFrameChg chg="add mod">
          <ac:chgData name="Agarwal, Ritvika Agarwal" userId="b707b316-64a3-4610-910f-1bdb9cece827" providerId="ADAL" clId="{40E9E367-FD06-4E0A-88C6-B990B7860D72}" dt="2023-02-13T11:50:43.116" v="999"/>
          <ac:graphicFrameMkLst>
            <pc:docMk/>
            <pc:sldMk cId="1965610247" sldId="2147471061"/>
            <ac:graphicFrameMk id="5" creationId="{AEC53D0C-E55B-4557-B8B8-712E42BEE1D0}"/>
          </ac:graphicFrameMkLst>
        </pc:graphicFrameChg>
        <pc:graphicFrameChg chg="add mod">
          <ac:chgData name="Agarwal, Ritvika Agarwal" userId="b707b316-64a3-4610-910f-1bdb9cece827" providerId="ADAL" clId="{40E9E367-FD06-4E0A-88C6-B990B7860D72}" dt="2023-02-13T11:50:43.116" v="999"/>
          <ac:graphicFrameMkLst>
            <pc:docMk/>
            <pc:sldMk cId="1965610247" sldId="2147471061"/>
            <ac:graphicFrameMk id="6" creationId="{A13D13A5-322C-43EC-A358-9E8CFE78C589}"/>
          </ac:graphicFrameMkLst>
        </pc:graphicFrameChg>
        <pc:graphicFrameChg chg="add mod">
          <ac:chgData name="Agarwal, Ritvika Agarwal" userId="b707b316-64a3-4610-910f-1bdb9cece827" providerId="ADAL" clId="{40E9E367-FD06-4E0A-88C6-B990B7860D72}" dt="2023-02-13T11:50:43.116" v="999"/>
          <ac:graphicFrameMkLst>
            <pc:docMk/>
            <pc:sldMk cId="1965610247" sldId="2147471061"/>
            <ac:graphicFrameMk id="7" creationId="{A7A47A99-2A72-4A31-BF23-3FC91D5DF079}"/>
          </ac:graphicFrameMkLst>
        </pc:graphicFrameChg>
        <pc:graphicFrameChg chg="add mod">
          <ac:chgData name="Agarwal, Ritvika Agarwal" userId="b707b316-64a3-4610-910f-1bdb9cece827" providerId="ADAL" clId="{40E9E367-FD06-4E0A-88C6-B990B7860D72}" dt="2023-02-13T11:50:43.116" v="999"/>
          <ac:graphicFrameMkLst>
            <pc:docMk/>
            <pc:sldMk cId="1965610247" sldId="2147471061"/>
            <ac:graphicFrameMk id="8" creationId="{6E85FEF1-BD08-4ECB-89E2-82330EE282A7}"/>
          </ac:graphicFrameMkLst>
        </pc:graphicFrameChg>
        <pc:graphicFrameChg chg="add mod">
          <ac:chgData name="Agarwal, Ritvika Agarwal" userId="b707b316-64a3-4610-910f-1bdb9cece827" providerId="ADAL" clId="{40E9E367-FD06-4E0A-88C6-B990B7860D72}" dt="2023-02-13T11:50:43.116" v="999"/>
          <ac:graphicFrameMkLst>
            <pc:docMk/>
            <pc:sldMk cId="1965610247" sldId="2147471061"/>
            <ac:graphicFrameMk id="9" creationId="{8691ABE3-32EE-4231-ACB0-C6A4263B0DAC}"/>
          </ac:graphicFrameMkLst>
        </pc:graphicFrameChg>
        <pc:graphicFrameChg chg="add mod">
          <ac:chgData name="Agarwal, Ritvika Agarwal" userId="b707b316-64a3-4610-910f-1bdb9cece827" providerId="ADAL" clId="{40E9E367-FD06-4E0A-88C6-B990B7860D72}" dt="2023-02-13T11:50:43.116" v="999"/>
          <ac:graphicFrameMkLst>
            <pc:docMk/>
            <pc:sldMk cId="1965610247" sldId="2147471061"/>
            <ac:graphicFrameMk id="10" creationId="{42A9431D-2068-47AC-8C7E-C7823979BF67}"/>
          </ac:graphicFrameMkLst>
        </pc:graphicFrameChg>
        <pc:graphicFrameChg chg="add mod">
          <ac:chgData name="Agarwal, Ritvika Agarwal" userId="b707b316-64a3-4610-910f-1bdb9cece827" providerId="ADAL" clId="{40E9E367-FD06-4E0A-88C6-B990B7860D72}" dt="2023-02-13T11:50:43.116" v="999"/>
          <ac:graphicFrameMkLst>
            <pc:docMk/>
            <pc:sldMk cId="1965610247" sldId="2147471061"/>
            <ac:graphicFrameMk id="11" creationId="{9A86C6C9-1066-42F8-9EE3-19DD9A8A06F2}"/>
          </ac:graphicFrameMkLst>
        </pc:graphicFrameChg>
        <pc:graphicFrameChg chg="add mod">
          <ac:chgData name="Agarwal, Ritvika Agarwal" userId="b707b316-64a3-4610-910f-1bdb9cece827" providerId="ADAL" clId="{40E9E367-FD06-4E0A-88C6-B990B7860D72}" dt="2023-02-13T11:50:43.116" v="999"/>
          <ac:graphicFrameMkLst>
            <pc:docMk/>
            <pc:sldMk cId="1965610247" sldId="2147471061"/>
            <ac:graphicFrameMk id="12" creationId="{522E94D7-301F-4D7B-921B-B4AA56964996}"/>
          </ac:graphicFrameMkLst>
        </pc:graphicFrameChg>
      </pc:sldChg>
    </pc:docChg>
  </pc:docChgLst>
  <pc:docChgLst>
    <pc:chgData name="Saini, Deepak" userId="S::dsaini@deloitte.com::e80dbb9a-4b07-4a9f-88ef-d15fa0089888" providerId="AD" clId="Web-{EE0CB247-BF4C-41E4-8081-0375699B36F3}"/>
    <pc:docChg chg="modSld">
      <pc:chgData name="Saini, Deepak" userId="S::dsaini@deloitte.com::e80dbb9a-4b07-4a9f-88ef-d15fa0089888" providerId="AD" clId="Web-{EE0CB247-BF4C-41E4-8081-0375699B36F3}" dt="2023-02-13T06:51:06.150" v="9" actId="20577"/>
      <pc:docMkLst>
        <pc:docMk/>
      </pc:docMkLst>
      <pc:sldChg chg="addSp delSp modSp">
        <pc:chgData name="Saini, Deepak" userId="S::dsaini@deloitte.com::e80dbb9a-4b07-4a9f-88ef-d15fa0089888" providerId="AD" clId="Web-{EE0CB247-BF4C-41E4-8081-0375699B36F3}" dt="2023-02-13T06:43:08.662" v="2"/>
        <pc:sldMkLst>
          <pc:docMk/>
          <pc:sldMk cId="402935960" sldId="2147470976"/>
        </pc:sldMkLst>
        <pc:spChg chg="mod">
          <ac:chgData name="Saini, Deepak" userId="S::dsaini@deloitte.com::e80dbb9a-4b07-4a9f-88ef-d15fa0089888" providerId="AD" clId="Web-{EE0CB247-BF4C-41E4-8081-0375699B36F3}" dt="2023-02-13T06:43:04.022" v="1" actId="20577"/>
          <ac:spMkLst>
            <pc:docMk/>
            <pc:sldMk cId="402935960" sldId="2147470976"/>
            <ac:spMk id="4" creationId="{1035FD7D-0195-C4B9-80DA-4E4ACE1A50FF}"/>
          </ac:spMkLst>
        </pc:spChg>
        <pc:spChg chg="add mod">
          <ac:chgData name="Saini, Deepak" userId="S::dsaini@deloitte.com::e80dbb9a-4b07-4a9f-88ef-d15fa0089888" providerId="AD" clId="Web-{EE0CB247-BF4C-41E4-8081-0375699B36F3}" dt="2023-02-13T06:43:08.662" v="2"/>
          <ac:spMkLst>
            <pc:docMk/>
            <pc:sldMk cId="402935960" sldId="2147470976"/>
            <ac:spMk id="6" creationId="{0CE6C197-89B3-933A-CAF7-C63EC5AD4EC1}"/>
          </ac:spMkLst>
        </pc:spChg>
        <pc:spChg chg="del mod">
          <ac:chgData name="Saini, Deepak" userId="S::dsaini@deloitte.com::e80dbb9a-4b07-4a9f-88ef-d15fa0089888" providerId="AD" clId="Web-{EE0CB247-BF4C-41E4-8081-0375699B36F3}" dt="2023-02-13T06:43:08.662" v="2"/>
          <ac:spMkLst>
            <pc:docMk/>
            <pc:sldMk cId="402935960" sldId="2147470976"/>
            <ac:spMk id="9" creationId="{BCCC5E6E-9876-4FA7-B92F-B8AACACB725C}"/>
          </ac:spMkLst>
        </pc:spChg>
      </pc:sldChg>
      <pc:sldChg chg="modSp">
        <pc:chgData name="Saini, Deepak" userId="S::dsaini@deloitte.com::e80dbb9a-4b07-4a9f-88ef-d15fa0089888" providerId="AD" clId="Web-{EE0CB247-BF4C-41E4-8081-0375699B36F3}" dt="2023-02-13T06:51:06.150" v="9" actId="20577"/>
        <pc:sldMkLst>
          <pc:docMk/>
          <pc:sldMk cId="183456641" sldId="2147471023"/>
        </pc:sldMkLst>
        <pc:spChg chg="mod">
          <ac:chgData name="Saini, Deepak" userId="S::dsaini@deloitte.com::e80dbb9a-4b07-4a9f-88ef-d15fa0089888" providerId="AD" clId="Web-{EE0CB247-BF4C-41E4-8081-0375699B36F3}" dt="2023-02-13T06:51:06.150" v="9" actId="20577"/>
          <ac:spMkLst>
            <pc:docMk/>
            <pc:sldMk cId="183456641" sldId="2147471023"/>
            <ac:spMk id="5" creationId="{47C6644F-EC13-42DD-AEE3-51928206F087}"/>
          </ac:spMkLst>
        </pc:spChg>
      </pc:sldChg>
    </pc:docChg>
  </pc:docChgLst>
  <pc:docChgLst>
    <pc:chgData name="Kumar, Kolguri Ravi" userId="a316ceae-798b-4645-a55f-15aee7e49ee7" providerId="ADAL" clId="{5D864CC7-EB4D-477F-93E3-3C356DB9A4CD}"/>
    <pc:docChg chg="sldOrd">
      <pc:chgData name="Kumar, Kolguri Ravi" userId="a316ceae-798b-4645-a55f-15aee7e49ee7" providerId="ADAL" clId="{5D864CC7-EB4D-477F-93E3-3C356DB9A4CD}" dt="2023-02-15T05:11:53.485" v="0" actId="20578"/>
      <pc:docMkLst>
        <pc:docMk/>
      </pc:docMkLst>
      <pc:sldChg chg="ord">
        <pc:chgData name="Kumar, Kolguri Ravi" userId="a316ceae-798b-4645-a55f-15aee7e49ee7" providerId="ADAL" clId="{5D864CC7-EB4D-477F-93E3-3C356DB9A4CD}" dt="2023-02-15T05:11:53.485" v="0" actId="20578"/>
        <pc:sldMkLst>
          <pc:docMk/>
          <pc:sldMk cId="1965610247" sldId="2147471061"/>
        </pc:sldMkLst>
      </pc:sldChg>
    </pc:docChg>
  </pc:docChgLst>
  <pc:docChgLst>
    <pc:chgData name="Rodriguez, Arlet" userId="a088caeb-267e-4aa2-9949-1aff30c6ce4b" providerId="ADAL" clId="{A8CD172A-2E50-492F-A006-3E45A5E88A15}"/>
    <pc:docChg chg="delSld">
      <pc:chgData name="Rodriguez, Arlet" userId="a088caeb-267e-4aa2-9949-1aff30c6ce4b" providerId="ADAL" clId="{A8CD172A-2E50-492F-A006-3E45A5E88A15}" dt="2023-02-13T16:14:09.658" v="0" actId="47"/>
      <pc:docMkLst>
        <pc:docMk/>
      </pc:docMkLst>
      <pc:sldChg chg="del">
        <pc:chgData name="Rodriguez, Arlet" userId="a088caeb-267e-4aa2-9949-1aff30c6ce4b" providerId="ADAL" clId="{A8CD172A-2E50-492F-A006-3E45A5E88A15}" dt="2023-02-13T16:14:09.658" v="0" actId="47"/>
        <pc:sldMkLst>
          <pc:docMk/>
          <pc:sldMk cId="415041410" sldId="2147471056"/>
        </pc:sldMkLst>
      </pc:sldChg>
    </pc:docChg>
  </pc:docChgLst>
  <pc:docChgLst>
    <pc:chgData name="Agarwal, Ritvika Agarwal" userId="S::ritagarwal@deloitte.com::b707b316-64a3-4610-910f-1bdb9cece827" providerId="AD" clId="Web-{E39FF4A8-78AE-405D-ABAB-79711E6B44C3}"/>
    <pc:docChg chg="modSld">
      <pc:chgData name="Agarwal, Ritvika Agarwal" userId="S::ritagarwal@deloitte.com::b707b316-64a3-4610-910f-1bdb9cece827" providerId="AD" clId="Web-{E39FF4A8-78AE-405D-ABAB-79711E6B44C3}" dt="2023-02-13T12:16:37.104" v="11" actId="20577"/>
      <pc:docMkLst>
        <pc:docMk/>
      </pc:docMkLst>
      <pc:sldChg chg="modSp">
        <pc:chgData name="Agarwal, Ritvika Agarwal" userId="S::ritagarwal@deloitte.com::b707b316-64a3-4610-910f-1bdb9cece827" providerId="AD" clId="Web-{E39FF4A8-78AE-405D-ABAB-79711E6B44C3}" dt="2023-02-13T12:15:53.775" v="10" actId="1076"/>
        <pc:sldMkLst>
          <pc:docMk/>
          <pc:sldMk cId="352092785" sldId="2147471001"/>
        </pc:sldMkLst>
        <pc:spChg chg="mod">
          <ac:chgData name="Agarwal, Ritvika Agarwal" userId="S::ritagarwal@deloitte.com::b707b316-64a3-4610-910f-1bdb9cece827" providerId="AD" clId="Web-{E39FF4A8-78AE-405D-ABAB-79711E6B44C3}" dt="2023-02-13T12:15:53.775" v="10" actId="1076"/>
          <ac:spMkLst>
            <pc:docMk/>
            <pc:sldMk cId="352092785" sldId="2147471001"/>
            <ac:spMk id="11" creationId="{9A1D1F42-E802-4C30-BA24-4B2F21933EF3}"/>
          </ac:spMkLst>
        </pc:spChg>
      </pc:sldChg>
      <pc:sldChg chg="modSp">
        <pc:chgData name="Agarwal, Ritvika Agarwal" userId="S::ritagarwal@deloitte.com::b707b316-64a3-4610-910f-1bdb9cece827" providerId="AD" clId="Web-{E39FF4A8-78AE-405D-ABAB-79711E6B44C3}" dt="2023-02-13T12:16:37.104" v="11" actId="20577"/>
        <pc:sldMkLst>
          <pc:docMk/>
          <pc:sldMk cId="1267791050" sldId="2147471059"/>
        </pc:sldMkLst>
        <pc:spChg chg="mod">
          <ac:chgData name="Agarwal, Ritvika Agarwal" userId="S::ritagarwal@deloitte.com::b707b316-64a3-4610-910f-1bdb9cece827" providerId="AD" clId="Web-{E39FF4A8-78AE-405D-ABAB-79711E6B44C3}" dt="2023-02-13T12:16:37.104" v="11" actId="20577"/>
          <ac:spMkLst>
            <pc:docMk/>
            <pc:sldMk cId="1267791050" sldId="2147471059"/>
            <ac:spMk id="5" creationId="{3C25657C-19D4-4B93-B96C-DACEDD67D364}"/>
          </ac:spMkLst>
        </pc:spChg>
      </pc:sldChg>
    </pc:docChg>
  </pc:docChgLst>
  <pc:docChgLst>
    <pc:chgData name="Alvarez, Becky" userId="S::bealvarez@deloitte.com::188f73ca-c6f1-4f7f-be0c-e80beec6d4d1" providerId="AD" clId="Web-{4D7B81F0-3243-DD3D-2D0F-DBB17BE4FAB6}"/>
    <pc:docChg chg="addSld delSld modSld">
      <pc:chgData name="Alvarez, Becky" userId="S::bealvarez@deloitte.com::188f73ca-c6f1-4f7f-be0c-e80beec6d4d1" providerId="AD" clId="Web-{4D7B81F0-3243-DD3D-2D0F-DBB17BE4FAB6}" dt="2023-02-14T13:56:01.824" v="10"/>
      <pc:docMkLst>
        <pc:docMk/>
      </pc:docMkLst>
      <pc:sldChg chg="del">
        <pc:chgData name="Alvarez, Becky" userId="S::bealvarez@deloitte.com::188f73ca-c6f1-4f7f-be0c-e80beec6d4d1" providerId="AD" clId="Web-{4D7B81F0-3243-DD3D-2D0F-DBB17BE4FAB6}" dt="2023-02-14T13:53:05.598" v="0"/>
        <pc:sldMkLst>
          <pc:docMk/>
          <pc:sldMk cId="78117434" sldId="2147471066"/>
        </pc:sldMkLst>
      </pc:sldChg>
      <pc:sldChg chg="addSp delSp modSp new del">
        <pc:chgData name="Alvarez, Becky" userId="S::bealvarez@deloitte.com::188f73ca-c6f1-4f7f-be0c-e80beec6d4d1" providerId="AD" clId="Web-{4D7B81F0-3243-DD3D-2D0F-DBB17BE4FAB6}" dt="2023-02-14T13:56:01.824" v="10"/>
        <pc:sldMkLst>
          <pc:docMk/>
          <pc:sldMk cId="3127032967" sldId="2147471066"/>
        </pc:sldMkLst>
        <pc:spChg chg="mod">
          <ac:chgData name="Alvarez, Becky" userId="S::bealvarez@deloitte.com::188f73ca-c6f1-4f7f-be0c-e80beec6d4d1" providerId="AD" clId="Web-{4D7B81F0-3243-DD3D-2D0F-DBB17BE4FAB6}" dt="2023-02-14T13:55:55.730" v="9" actId="14100"/>
          <ac:spMkLst>
            <pc:docMk/>
            <pc:sldMk cId="3127032967" sldId="2147471066"/>
            <ac:spMk id="2" creationId="{B3444F75-BBE7-AF4E-3376-2595DF9F1AF0}"/>
          </ac:spMkLst>
        </pc:spChg>
        <pc:picChg chg="add del mod">
          <ac:chgData name="Alvarez, Becky" userId="S::bealvarez@deloitte.com::188f73ca-c6f1-4f7f-be0c-e80beec6d4d1" providerId="AD" clId="Web-{4D7B81F0-3243-DD3D-2D0F-DBB17BE4FAB6}" dt="2023-02-14T13:55:51.105" v="8"/>
          <ac:picMkLst>
            <pc:docMk/>
            <pc:sldMk cId="3127032967" sldId="2147471066"/>
            <ac:picMk id="3" creationId="{78EC4D01-E285-33F6-63AA-9551BA27D885}"/>
          </ac:picMkLst>
        </pc:picChg>
      </pc:sldChg>
    </pc:docChg>
  </pc:docChgLst>
  <pc:docChgLst>
    <pc:chgData name="Siddiqui, Arsalan" userId="72b84eaf-9d90-46f8-bcda-4f61ab6450a6" providerId="ADAL" clId="{FF693E6D-D6A7-41BC-A541-8D9FED49EA7C}"/>
    <pc:docChg chg="modSld">
      <pc:chgData name="Siddiqui, Arsalan" userId="72b84eaf-9d90-46f8-bcda-4f61ab6450a6" providerId="ADAL" clId="{FF693E6D-D6A7-41BC-A541-8D9FED49EA7C}" dt="2023-02-13T17:34:13.841" v="12" actId="20577"/>
      <pc:docMkLst>
        <pc:docMk/>
      </pc:docMkLst>
      <pc:sldChg chg="modSp mod">
        <pc:chgData name="Siddiqui, Arsalan" userId="72b84eaf-9d90-46f8-bcda-4f61ab6450a6" providerId="ADAL" clId="{FF693E6D-D6A7-41BC-A541-8D9FED49EA7C}" dt="2023-02-13T17:34:13.841" v="12" actId="20577"/>
        <pc:sldMkLst>
          <pc:docMk/>
          <pc:sldMk cId="861957290" sldId="341"/>
        </pc:sldMkLst>
        <pc:spChg chg="mod">
          <ac:chgData name="Siddiqui, Arsalan" userId="72b84eaf-9d90-46f8-bcda-4f61ab6450a6" providerId="ADAL" clId="{FF693E6D-D6A7-41BC-A541-8D9FED49EA7C}" dt="2023-02-13T17:34:13.841" v="12" actId="20577"/>
          <ac:spMkLst>
            <pc:docMk/>
            <pc:sldMk cId="861957290" sldId="341"/>
            <ac:spMk id="13" creationId="{DE5B9CEA-5E73-4E22-8C75-E8D43059FFC7}"/>
          </ac:spMkLst>
        </pc:spChg>
      </pc:sldChg>
    </pc:docChg>
  </pc:docChgLst>
  <pc:docChgLst>
    <pc:chgData name="Tanna, Nishant Kiritbhai" userId="S::ntanna@deloitte.com::d1370780-4bcf-4f4c-93e1-7b4f1d6c7dbb" providerId="AD" clId="Web-{A6C0FA99-485F-49DB-9124-20D017FBDF71}"/>
    <pc:docChg chg="">
      <pc:chgData name="Tanna, Nishant Kiritbhai" userId="S::ntanna@deloitte.com::d1370780-4bcf-4f4c-93e1-7b4f1d6c7dbb" providerId="AD" clId="Web-{A6C0FA99-485F-49DB-9124-20D017FBDF71}" dt="2023-02-11T12:53:11.838" v="2"/>
      <pc:docMkLst>
        <pc:docMk/>
      </pc:docMkLst>
      <pc:sldChg chg="delCm">
        <pc:chgData name="Tanna, Nishant Kiritbhai" userId="S::ntanna@deloitte.com::d1370780-4bcf-4f4c-93e1-7b4f1d6c7dbb" providerId="AD" clId="Web-{A6C0FA99-485F-49DB-9124-20D017FBDF71}" dt="2023-02-11T12:52:57.197" v="1"/>
        <pc:sldMkLst>
          <pc:docMk/>
          <pc:sldMk cId="1301746540" sldId="2147471048"/>
        </pc:sldMkLst>
      </pc:sldChg>
      <pc:sldChg chg="delCm">
        <pc:chgData name="Tanna, Nishant Kiritbhai" userId="S::ntanna@deloitte.com::d1370780-4bcf-4f4c-93e1-7b4f1d6c7dbb" providerId="AD" clId="Web-{A6C0FA99-485F-49DB-9124-20D017FBDF71}" dt="2023-02-11T12:52:34.915" v="0"/>
        <pc:sldMkLst>
          <pc:docMk/>
          <pc:sldMk cId="3779177291" sldId="2147471057"/>
        </pc:sldMkLst>
      </pc:sldChg>
      <pc:sldChg chg="delCm">
        <pc:chgData name="Tanna, Nishant Kiritbhai" userId="S::ntanna@deloitte.com::d1370780-4bcf-4f4c-93e1-7b4f1d6c7dbb" providerId="AD" clId="Web-{A6C0FA99-485F-49DB-9124-20D017FBDF71}" dt="2023-02-11T12:53:11.838" v="2"/>
        <pc:sldMkLst>
          <pc:docMk/>
          <pc:sldMk cId="277655638" sldId="2147471058"/>
        </pc:sldMkLst>
      </pc:sldChg>
    </pc:docChg>
  </pc:docChgLst>
  <pc:docChgLst>
    <pc:chgData clId="Web-{EE0CB247-BF4C-41E4-8081-0375699B36F3}"/>
    <pc:docChg chg="modSld">
      <pc:chgData name="" userId="" providerId="" clId="Web-{EE0CB247-BF4C-41E4-8081-0375699B36F3}" dt="2023-02-13T06:42:51.037" v="0"/>
      <pc:docMkLst>
        <pc:docMk/>
      </pc:docMkLst>
      <pc:sldChg chg="addSp delSp modSp">
        <pc:chgData name="" userId="" providerId="" clId="Web-{EE0CB247-BF4C-41E4-8081-0375699B36F3}" dt="2023-02-13T06:42:51.037" v="0"/>
        <pc:sldMkLst>
          <pc:docMk/>
          <pc:sldMk cId="402935960" sldId="2147470976"/>
        </pc:sldMkLst>
        <pc:spChg chg="del">
          <ac:chgData name="" userId="" providerId="" clId="Web-{EE0CB247-BF4C-41E4-8081-0375699B36F3}" dt="2023-02-13T06:42:51.037" v="0"/>
          <ac:spMkLst>
            <pc:docMk/>
            <pc:sldMk cId="402935960" sldId="2147470976"/>
            <ac:spMk id="2" creationId="{ABE1F6E1-29EE-40F2-B4B4-BE784F40C118}"/>
          </ac:spMkLst>
        </pc:spChg>
        <pc:spChg chg="add mod">
          <ac:chgData name="" userId="" providerId="" clId="Web-{EE0CB247-BF4C-41E4-8081-0375699B36F3}" dt="2023-02-13T06:42:51.037" v="0"/>
          <ac:spMkLst>
            <pc:docMk/>
            <pc:sldMk cId="402935960" sldId="2147470976"/>
            <ac:spMk id="4" creationId="{1035FD7D-0195-C4B9-80DA-4E4ACE1A50FF}"/>
          </ac:spMkLst>
        </pc:spChg>
      </pc:sldChg>
    </pc:docChg>
  </pc:docChgLst>
  <pc:docChgLst>
    <pc:chgData name="Nishant Kiritbhai Tanna" userId="d1370780-4bcf-4f4c-93e1-7b4f1d6c7dbb" providerId="ADAL" clId="{F2414A70-A442-4434-9D95-D6398AB4636C}"/>
    <pc:docChg chg="undo custSel addSld modSld sldOrd">
      <pc:chgData name="Nishant Kiritbhai Tanna" userId="d1370780-4bcf-4f4c-93e1-7b4f1d6c7dbb" providerId="ADAL" clId="{F2414A70-A442-4434-9D95-D6398AB4636C}" dt="2023-02-13T04:55:06.105" v="39"/>
      <pc:docMkLst>
        <pc:docMk/>
      </pc:docMkLst>
      <pc:sldChg chg="modSp add mod ord">
        <pc:chgData name="Nishant Kiritbhai Tanna" userId="d1370780-4bcf-4f4c-93e1-7b4f1d6c7dbb" providerId="ADAL" clId="{F2414A70-A442-4434-9D95-D6398AB4636C}" dt="2023-02-13T04:23:35.909" v="17"/>
        <pc:sldMkLst>
          <pc:docMk/>
          <pc:sldMk cId="3343091185" sldId="2145704809"/>
        </pc:sldMkLst>
        <pc:spChg chg="mod">
          <ac:chgData name="Nishant Kiritbhai Tanna" userId="d1370780-4bcf-4f4c-93e1-7b4f1d6c7dbb" providerId="ADAL" clId="{F2414A70-A442-4434-9D95-D6398AB4636C}" dt="2023-02-13T04:17:13.832" v="3" actId="207"/>
          <ac:spMkLst>
            <pc:docMk/>
            <pc:sldMk cId="3343091185" sldId="2145704809"/>
            <ac:spMk id="38" creationId="{84A24129-CA17-4B07-90FE-44AFFDBDD906}"/>
          </ac:spMkLst>
        </pc:spChg>
        <pc:spChg chg="mod">
          <ac:chgData name="Nishant Kiritbhai Tanna" userId="d1370780-4bcf-4f4c-93e1-7b4f1d6c7dbb" providerId="ADAL" clId="{F2414A70-A442-4434-9D95-D6398AB4636C}" dt="2023-02-13T04:17:34.937" v="8" actId="207"/>
          <ac:spMkLst>
            <pc:docMk/>
            <pc:sldMk cId="3343091185" sldId="2145704809"/>
            <ac:spMk id="39" creationId="{3A5C0AEC-B8BB-4A6C-A589-8C0549577440}"/>
          </ac:spMkLst>
        </pc:spChg>
        <pc:spChg chg="mod">
          <ac:chgData name="Nishant Kiritbhai Tanna" userId="d1370780-4bcf-4f4c-93e1-7b4f1d6c7dbb" providerId="ADAL" clId="{F2414A70-A442-4434-9D95-D6398AB4636C}" dt="2023-02-13T04:17:43.452" v="10" actId="207"/>
          <ac:spMkLst>
            <pc:docMk/>
            <pc:sldMk cId="3343091185" sldId="2145704809"/>
            <ac:spMk id="40" creationId="{43E93ABD-6030-47F1-8F67-B65FDDA1FF26}"/>
          </ac:spMkLst>
        </pc:spChg>
        <pc:spChg chg="mod">
          <ac:chgData name="Nishant Kiritbhai Tanna" userId="d1370780-4bcf-4f4c-93e1-7b4f1d6c7dbb" providerId="ADAL" clId="{F2414A70-A442-4434-9D95-D6398AB4636C}" dt="2023-02-13T04:17:46.144" v="11" actId="207"/>
          <ac:spMkLst>
            <pc:docMk/>
            <pc:sldMk cId="3343091185" sldId="2145704809"/>
            <ac:spMk id="41" creationId="{DA242DDB-C44F-43AF-8769-90285C33172C}"/>
          </ac:spMkLst>
        </pc:spChg>
        <pc:spChg chg="mod">
          <ac:chgData name="Nishant Kiritbhai Tanna" userId="d1370780-4bcf-4f4c-93e1-7b4f1d6c7dbb" providerId="ADAL" clId="{F2414A70-A442-4434-9D95-D6398AB4636C}" dt="2023-02-13T04:17:18.764" v="4" actId="207"/>
          <ac:spMkLst>
            <pc:docMk/>
            <pc:sldMk cId="3343091185" sldId="2145704809"/>
            <ac:spMk id="45" creationId="{FB95E2D6-7D56-405B-9821-973B550E3B1C}"/>
          </ac:spMkLst>
        </pc:spChg>
        <pc:spChg chg="mod">
          <ac:chgData name="Nishant Kiritbhai Tanna" userId="d1370780-4bcf-4f4c-93e1-7b4f1d6c7dbb" providerId="ADAL" clId="{F2414A70-A442-4434-9D95-D6398AB4636C}" dt="2023-02-13T04:17:22.410" v="5" actId="207"/>
          <ac:spMkLst>
            <pc:docMk/>
            <pc:sldMk cId="3343091185" sldId="2145704809"/>
            <ac:spMk id="46" creationId="{C94557C0-E2F6-43FC-88C7-1A2E352A5B39}"/>
          </ac:spMkLst>
        </pc:spChg>
        <pc:spChg chg="mod">
          <ac:chgData name="Nishant Kiritbhai Tanna" userId="d1370780-4bcf-4f4c-93e1-7b4f1d6c7dbb" providerId="ADAL" clId="{F2414A70-A442-4434-9D95-D6398AB4636C}" dt="2023-02-13T04:17:25.873" v="6" actId="207"/>
          <ac:spMkLst>
            <pc:docMk/>
            <pc:sldMk cId="3343091185" sldId="2145704809"/>
            <ac:spMk id="47" creationId="{8583FE5E-6D0C-47C3-94F8-4F12ED6D811C}"/>
          </ac:spMkLst>
        </pc:spChg>
        <pc:spChg chg="mod">
          <ac:chgData name="Nishant Kiritbhai Tanna" userId="d1370780-4bcf-4f4c-93e1-7b4f1d6c7dbb" providerId="ADAL" clId="{F2414A70-A442-4434-9D95-D6398AB4636C}" dt="2023-02-13T04:17:29.377" v="7" actId="207"/>
          <ac:spMkLst>
            <pc:docMk/>
            <pc:sldMk cId="3343091185" sldId="2145704809"/>
            <ac:spMk id="48" creationId="{B6F9E417-F2CA-4B5C-A109-D85D97C089FA}"/>
          </ac:spMkLst>
        </pc:spChg>
        <pc:spChg chg="mod">
          <ac:chgData name="Nishant Kiritbhai Tanna" userId="d1370780-4bcf-4f4c-93e1-7b4f1d6c7dbb" providerId="ADAL" clId="{F2414A70-A442-4434-9D95-D6398AB4636C}" dt="2023-02-13T04:17:48.959" v="12" actId="207"/>
          <ac:spMkLst>
            <pc:docMk/>
            <pc:sldMk cId="3343091185" sldId="2145704809"/>
            <ac:spMk id="50" creationId="{C4D02B50-3C6D-4E5C-89F1-CEEA19D0174C}"/>
          </ac:spMkLst>
        </pc:spChg>
        <pc:spChg chg="mod">
          <ac:chgData name="Nishant Kiritbhai Tanna" userId="d1370780-4bcf-4f4c-93e1-7b4f1d6c7dbb" providerId="ADAL" clId="{F2414A70-A442-4434-9D95-D6398AB4636C}" dt="2023-02-13T04:17:51.934" v="13" actId="207"/>
          <ac:spMkLst>
            <pc:docMk/>
            <pc:sldMk cId="3343091185" sldId="2145704809"/>
            <ac:spMk id="51" creationId="{46077298-D8C1-4D37-82F4-D24C1B1884F1}"/>
          </ac:spMkLst>
        </pc:spChg>
        <pc:spChg chg="mod">
          <ac:chgData name="Nishant Kiritbhai Tanna" userId="d1370780-4bcf-4f4c-93e1-7b4f1d6c7dbb" providerId="ADAL" clId="{F2414A70-A442-4434-9D95-D6398AB4636C}" dt="2023-02-13T04:17:40.259" v="9" actId="207"/>
          <ac:spMkLst>
            <pc:docMk/>
            <pc:sldMk cId="3343091185" sldId="2145704809"/>
            <ac:spMk id="52" creationId="{B37EE7D4-529C-4B55-A703-D507361C948F}"/>
          </ac:spMkLst>
        </pc:spChg>
        <pc:spChg chg="mod">
          <ac:chgData name="Nishant Kiritbhai Tanna" userId="d1370780-4bcf-4f4c-93e1-7b4f1d6c7dbb" providerId="ADAL" clId="{F2414A70-A442-4434-9D95-D6398AB4636C}" dt="2023-02-13T04:16:57.428" v="1" actId="207"/>
          <ac:spMkLst>
            <pc:docMk/>
            <pc:sldMk cId="3343091185" sldId="2145704809"/>
            <ac:spMk id="72" creationId="{959A553E-BFF6-4B6D-BF21-BDD65648B1D1}"/>
          </ac:spMkLst>
        </pc:spChg>
        <pc:spChg chg="mod">
          <ac:chgData name="Nishant Kiritbhai Tanna" userId="d1370780-4bcf-4f4c-93e1-7b4f1d6c7dbb" providerId="ADAL" clId="{F2414A70-A442-4434-9D95-D6398AB4636C}" dt="2023-02-13T04:17:02.519" v="2" actId="207"/>
          <ac:spMkLst>
            <pc:docMk/>
            <pc:sldMk cId="3343091185" sldId="2145704809"/>
            <ac:spMk id="97" creationId="{F086843B-5F96-45C9-A179-8D604CBE7BD0}"/>
          </ac:spMkLst>
        </pc:spChg>
      </pc:sldChg>
      <pc:sldChg chg="delCm modCm">
        <pc:chgData name="Nishant Kiritbhai Tanna" userId="d1370780-4bcf-4f4c-93e1-7b4f1d6c7dbb" providerId="ADAL" clId="{F2414A70-A442-4434-9D95-D6398AB4636C}" dt="2023-02-13T04:33:58.862" v="21"/>
        <pc:sldMkLst>
          <pc:docMk/>
          <pc:sldMk cId="3402747004" sldId="2147468777"/>
        </pc:sldMkLst>
      </pc:sldChg>
      <pc:sldChg chg="modSp mod modCm">
        <pc:chgData name="Nishant Kiritbhai Tanna" userId="d1370780-4bcf-4f4c-93e1-7b4f1d6c7dbb" providerId="ADAL" clId="{F2414A70-A442-4434-9D95-D6398AB4636C}" dt="2023-02-13T04:47:58.291" v="38"/>
        <pc:sldMkLst>
          <pc:docMk/>
          <pc:sldMk cId="1301746540" sldId="2147471048"/>
        </pc:sldMkLst>
        <pc:spChg chg="mod">
          <ac:chgData name="Nishant Kiritbhai Tanna" userId="d1370780-4bcf-4f4c-93e1-7b4f1d6c7dbb" providerId="ADAL" clId="{F2414A70-A442-4434-9D95-D6398AB4636C}" dt="2023-02-13T04:42:44.765" v="30" actId="108"/>
          <ac:spMkLst>
            <pc:docMk/>
            <pc:sldMk cId="1301746540" sldId="2147471048"/>
            <ac:spMk id="2" creationId="{983642F4-A8BC-41B4-A292-F7F8D7D64DBA}"/>
          </ac:spMkLst>
        </pc:spChg>
        <pc:spChg chg="mod">
          <ac:chgData name="Nishant Kiritbhai Tanna" userId="d1370780-4bcf-4f4c-93e1-7b4f1d6c7dbb" providerId="ADAL" clId="{F2414A70-A442-4434-9D95-D6398AB4636C}" dt="2023-02-13T04:44:26.751" v="33" actId="108"/>
          <ac:spMkLst>
            <pc:docMk/>
            <pc:sldMk cId="1301746540" sldId="2147471048"/>
            <ac:spMk id="6" creationId="{FC2A170C-4DB6-4DDA-8F68-4624E1827B9F}"/>
          </ac:spMkLst>
        </pc:spChg>
        <pc:spChg chg="mod">
          <ac:chgData name="Nishant Kiritbhai Tanna" userId="d1370780-4bcf-4f4c-93e1-7b4f1d6c7dbb" providerId="ADAL" clId="{F2414A70-A442-4434-9D95-D6398AB4636C}" dt="2023-02-13T04:47:36.956" v="37" actId="255"/>
          <ac:spMkLst>
            <pc:docMk/>
            <pc:sldMk cId="1301746540" sldId="2147471048"/>
            <ac:spMk id="17" creationId="{4BE8BCB2-C327-4FE7-9CAE-5BD227C14160}"/>
          </ac:spMkLst>
        </pc:spChg>
      </pc:sldChg>
      <pc:sldChg chg="ord">
        <pc:chgData name="Nishant Kiritbhai Tanna" userId="d1370780-4bcf-4f4c-93e1-7b4f1d6c7dbb" providerId="ADAL" clId="{F2414A70-A442-4434-9D95-D6398AB4636C}" dt="2023-02-13T04:23:21.893" v="15"/>
        <pc:sldMkLst>
          <pc:docMk/>
          <pc:sldMk cId="2127467916" sldId="2147471051"/>
        </pc:sldMkLst>
      </pc:sldChg>
      <pc:sldChg chg="modSp">
        <pc:chgData name="Nishant Kiritbhai Tanna" userId="d1370780-4bcf-4f4c-93e1-7b4f1d6c7dbb" providerId="ADAL" clId="{F2414A70-A442-4434-9D95-D6398AB4636C}" dt="2023-02-13T04:42:38.281" v="29"/>
        <pc:sldMkLst>
          <pc:docMk/>
          <pc:sldMk cId="3571490006" sldId="2147471052"/>
        </pc:sldMkLst>
        <pc:graphicFrameChg chg="mod">
          <ac:chgData name="Nishant Kiritbhai Tanna" userId="d1370780-4bcf-4f4c-93e1-7b4f1d6c7dbb" providerId="ADAL" clId="{F2414A70-A442-4434-9D95-D6398AB4636C}" dt="2023-02-13T04:42:38.281" v="29"/>
          <ac:graphicFrameMkLst>
            <pc:docMk/>
            <pc:sldMk cId="3571490006" sldId="2147471052"/>
            <ac:graphicFrameMk id="17" creationId="{00000000-0000-0000-0000-000000000000}"/>
          </ac:graphicFrameMkLst>
        </pc:graphicFrameChg>
      </pc:sldChg>
      <pc:sldChg chg="modCm">
        <pc:chgData name="Nishant Kiritbhai Tanna" userId="d1370780-4bcf-4f4c-93e1-7b4f1d6c7dbb" providerId="ADAL" clId="{F2414A70-A442-4434-9D95-D6398AB4636C}" dt="2023-02-13T04:55:06.105" v="39"/>
        <pc:sldMkLst>
          <pc:docMk/>
          <pc:sldMk cId="3779177291" sldId="2147471057"/>
        </pc:sldMkLst>
      </pc:sldChg>
    </pc:docChg>
  </pc:docChgLst>
  <pc:docChgLst>
    <pc:chgData name="Alvarez, Becky" userId="S::bealvarez@deloitte.com::188f73ca-c6f1-4f7f-be0c-e80beec6d4d1" providerId="AD" clId="Web-{BC741751-C4E9-4675-BFD6-39A2F0DD7F1A}"/>
    <pc:docChg chg="modSld">
      <pc:chgData name="Alvarez, Becky" userId="S::bealvarez@deloitte.com::188f73ca-c6f1-4f7f-be0c-e80beec6d4d1" providerId="AD" clId="Web-{BC741751-C4E9-4675-BFD6-39A2F0DD7F1A}" dt="2023-02-13T13:44:35.146" v="4"/>
      <pc:docMkLst>
        <pc:docMk/>
      </pc:docMkLst>
      <pc:sldChg chg="modSp">
        <pc:chgData name="Alvarez, Becky" userId="S::bealvarez@deloitte.com::188f73ca-c6f1-4f7f-be0c-e80beec6d4d1" providerId="AD" clId="Web-{BC741751-C4E9-4675-BFD6-39A2F0DD7F1A}" dt="2023-02-13T13:40:28.032" v="0" actId="20577"/>
        <pc:sldMkLst>
          <pc:docMk/>
          <pc:sldMk cId="402935960" sldId="2147470976"/>
        </pc:sldMkLst>
        <pc:spChg chg="mod">
          <ac:chgData name="Alvarez, Becky" userId="S::bealvarez@deloitte.com::188f73ca-c6f1-4f7f-be0c-e80beec6d4d1" providerId="AD" clId="Web-{BC741751-C4E9-4675-BFD6-39A2F0DD7F1A}" dt="2023-02-13T13:40:28.032" v="0" actId="20577"/>
          <ac:spMkLst>
            <pc:docMk/>
            <pc:sldMk cId="402935960" sldId="2147470976"/>
            <ac:spMk id="4" creationId="{1035FD7D-0195-C4B9-80DA-4E4ACE1A50FF}"/>
          </ac:spMkLst>
        </pc:spChg>
      </pc:sldChg>
      <pc:sldChg chg="modSp">
        <pc:chgData name="Alvarez, Becky" userId="S::bealvarez@deloitte.com::188f73ca-c6f1-4f7f-be0c-e80beec6d4d1" providerId="AD" clId="Web-{BC741751-C4E9-4675-BFD6-39A2F0DD7F1A}" dt="2023-02-13T13:44:35.146" v="4"/>
        <pc:sldMkLst>
          <pc:docMk/>
          <pc:sldMk cId="1317580537" sldId="2147471044"/>
        </pc:sldMkLst>
        <pc:graphicFrameChg chg="mod modGraphic">
          <ac:chgData name="Alvarez, Becky" userId="S::bealvarez@deloitte.com::188f73ca-c6f1-4f7f-be0c-e80beec6d4d1" providerId="AD" clId="Web-{BC741751-C4E9-4675-BFD6-39A2F0DD7F1A}" dt="2023-02-13T13:44:35.146" v="4"/>
          <ac:graphicFrameMkLst>
            <pc:docMk/>
            <pc:sldMk cId="1317580537" sldId="2147471044"/>
            <ac:graphicFrameMk id="31" creationId="{86D29932-240A-4696-A6BC-848BC6CFD33E}"/>
          </ac:graphicFrameMkLst>
        </pc:graphicFrameChg>
      </pc:sldChg>
    </pc:docChg>
  </pc:docChgLst>
  <pc:docChgLst>
    <pc:chgData name="Shankar, Shalini" userId="78d34759-0b37-45b8-83d1-8d0fdcc9bbde" providerId="ADAL" clId="{6830E71F-88EB-4210-AFD1-15B319FD81D0}"/>
    <pc:docChg chg="undo custSel addSld delSld modSld">
      <pc:chgData name="Shankar, Shalini" userId="78d34759-0b37-45b8-83d1-8d0fdcc9bbde" providerId="ADAL" clId="{6830E71F-88EB-4210-AFD1-15B319FD81D0}" dt="2023-02-13T23:02:43.054" v="13" actId="20577"/>
      <pc:docMkLst>
        <pc:docMk/>
      </pc:docMkLst>
      <pc:sldChg chg="add del">
        <pc:chgData name="Shankar, Shalini" userId="78d34759-0b37-45b8-83d1-8d0fdcc9bbde" providerId="ADAL" clId="{6830E71F-88EB-4210-AFD1-15B319FD81D0}" dt="2023-02-13T23:02:13.825" v="3" actId="47"/>
        <pc:sldMkLst>
          <pc:docMk/>
          <pc:sldMk cId="36651200" sldId="262"/>
        </pc:sldMkLst>
      </pc:sldChg>
      <pc:sldChg chg="addCm modCm">
        <pc:chgData name="Shankar, Shalini" userId="78d34759-0b37-45b8-83d1-8d0fdcc9bbde" providerId="ADAL" clId="{6830E71F-88EB-4210-AFD1-15B319FD81D0}" dt="2023-02-11T21:49:22.737" v="1"/>
        <pc:sldMkLst>
          <pc:docMk/>
          <pc:sldMk cId="861957290" sldId="341"/>
        </pc:sldMkLst>
      </pc:sldChg>
      <pc:sldChg chg="modSp mod">
        <pc:chgData name="Shankar, Shalini" userId="78d34759-0b37-45b8-83d1-8d0fdcc9bbde" providerId="ADAL" clId="{6830E71F-88EB-4210-AFD1-15B319FD81D0}" dt="2023-02-13T23:02:43.054" v="13" actId="20577"/>
        <pc:sldMkLst>
          <pc:docMk/>
          <pc:sldMk cId="2841968195" sldId="2147470995"/>
        </pc:sldMkLst>
        <pc:graphicFrameChg chg="modGraphic">
          <ac:chgData name="Shankar, Shalini" userId="78d34759-0b37-45b8-83d1-8d0fdcc9bbde" providerId="ADAL" clId="{6830E71F-88EB-4210-AFD1-15B319FD81D0}" dt="2023-02-13T23:02:43.054" v="13" actId="20577"/>
          <ac:graphicFrameMkLst>
            <pc:docMk/>
            <pc:sldMk cId="2841968195" sldId="2147470995"/>
            <ac:graphicFrameMk id="5" creationId="{82549B7C-F0FA-419F-A057-F2CE77019DB6}"/>
          </ac:graphicFrameMkLst>
        </pc:graphicFrameChg>
      </pc:sldChg>
    </pc:docChg>
  </pc:docChgLst>
  <pc:docChgLst>
    <pc:chgData name="Saini, Deepak" userId="e80dbb9a-4b07-4a9f-88ef-d15fa0089888" providerId="ADAL" clId="{16AF8C25-EF18-4830-836B-32D24957964A}"/>
    <pc:docChg chg="delSld">
      <pc:chgData name="Saini, Deepak" userId="e80dbb9a-4b07-4a9f-88ef-d15fa0089888" providerId="ADAL" clId="{16AF8C25-EF18-4830-836B-32D24957964A}" dt="2023-02-14T13:54:21.452" v="0" actId="47"/>
      <pc:docMkLst>
        <pc:docMk/>
      </pc:docMkLst>
      <pc:sldChg chg="del">
        <pc:chgData name="Saini, Deepak" userId="e80dbb9a-4b07-4a9f-88ef-d15fa0089888" providerId="ADAL" clId="{16AF8C25-EF18-4830-836B-32D24957964A}" dt="2023-02-14T13:54:21.452" v="0" actId="47"/>
        <pc:sldMkLst>
          <pc:docMk/>
          <pc:sldMk cId="3762240121" sldId="214747100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23/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23/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19932310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11</a:t>
            </a:fld>
            <a:endParaRPr lang="en-GB"/>
          </a:p>
        </p:txBody>
      </p:sp>
    </p:spTree>
    <p:extLst>
      <p:ext uri="{BB962C8B-B14F-4D97-AF65-F5344CB8AC3E}">
        <p14:creationId xmlns:p14="http://schemas.microsoft.com/office/powerpoint/2010/main" val="18700412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2368833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14</a:t>
            </a:fld>
            <a:endParaRPr lang="en-GB"/>
          </a:p>
        </p:txBody>
      </p:sp>
    </p:spTree>
    <p:extLst>
      <p:ext uri="{BB962C8B-B14F-4D97-AF65-F5344CB8AC3E}">
        <p14:creationId xmlns:p14="http://schemas.microsoft.com/office/powerpoint/2010/main" val="2140274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16</a:t>
            </a:fld>
            <a:endParaRPr lang="en-GB"/>
          </a:p>
        </p:txBody>
      </p:sp>
    </p:spTree>
    <p:extLst>
      <p:ext uri="{BB962C8B-B14F-4D97-AF65-F5344CB8AC3E}">
        <p14:creationId xmlns:p14="http://schemas.microsoft.com/office/powerpoint/2010/main" val="3730988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1250497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1401351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7819549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2</a:t>
            </a:fld>
            <a:endParaRPr lang="en-GB"/>
          </a:p>
        </p:txBody>
      </p:sp>
    </p:spTree>
    <p:extLst>
      <p:ext uri="{BB962C8B-B14F-4D97-AF65-F5344CB8AC3E}">
        <p14:creationId xmlns:p14="http://schemas.microsoft.com/office/powerpoint/2010/main" val="31119310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3</a:t>
            </a:fld>
            <a:endParaRPr lang="en-GB"/>
          </a:p>
        </p:txBody>
      </p:sp>
    </p:spTree>
    <p:extLst>
      <p:ext uri="{BB962C8B-B14F-4D97-AF65-F5344CB8AC3E}">
        <p14:creationId xmlns:p14="http://schemas.microsoft.com/office/powerpoint/2010/main" val="3544959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14533536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4</a:t>
            </a:fld>
            <a:endParaRPr lang="en-GB"/>
          </a:p>
        </p:txBody>
      </p:sp>
    </p:spTree>
    <p:extLst>
      <p:ext uri="{BB962C8B-B14F-4D97-AF65-F5344CB8AC3E}">
        <p14:creationId xmlns:p14="http://schemas.microsoft.com/office/powerpoint/2010/main" val="4237075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5</a:t>
            </a:fld>
            <a:endParaRPr lang="en-GB"/>
          </a:p>
        </p:txBody>
      </p:sp>
    </p:spTree>
    <p:extLst>
      <p:ext uri="{BB962C8B-B14F-4D97-AF65-F5344CB8AC3E}">
        <p14:creationId xmlns:p14="http://schemas.microsoft.com/office/powerpoint/2010/main" val="4353265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1799146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3662492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1803477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943888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34670439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kern="0" dirty="0">
                <a:cs typeface="Calibri"/>
              </a:rPr>
              <a:t>In Company X as per existing process supplier invoice payment handle in SAP system and payment information update in oracle through automated process. </a:t>
            </a: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1568629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495458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9</a:t>
            </a:fld>
            <a:endParaRPr lang="en-GB"/>
          </a:p>
        </p:txBody>
      </p:sp>
    </p:spTree>
    <p:extLst>
      <p:ext uri="{BB962C8B-B14F-4D97-AF65-F5344CB8AC3E}">
        <p14:creationId xmlns:p14="http://schemas.microsoft.com/office/powerpoint/2010/main" val="23771200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AB1DBBF7-4EAE-4F8E-80EB-5E36A81C5882}"/>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B595760D-1961-4CF0-A79F-E0C641C5E1F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BA213B5C-0BC9-4640-BE48-78260F9B6D2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9E5E405-2AF9-4E2B-8F43-F76F432CEF8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7FE942F8-2D25-42A3-A409-4D4ADADF94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7CFD0CDD-055D-4EF6-AB60-E6A04A31CA3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DCA52BB3-DD5F-46AB-B237-3750DBC6B68E}"/>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A24ED087-FB4A-42B2-8F67-7DF619974B9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081D059B-F9CF-4815-B2C7-F7FBC22AA27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2E6D6E46-0F1D-41F0-A413-699C42207EE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10957F9A-A9E7-4445-87CB-845E0DEBE0B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12912EC3-1855-4861-A48F-44967565F36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C26045A5-BDA5-4E60-B10E-04BA92E9792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291ED79A-C6A4-493F-85EF-04BA0E4DBAE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1E00A011-156F-48B9-B2DB-9C341DBC74A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38C56265-27CC-48D8-9C76-18EE31E85F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968F0C77-6FE6-49E9-BAC0-F6D3D677E37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4E0AE3BD-57FA-4431-8D8F-36D90F5C432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17AC8A07-9CFF-46F4-8ADA-525F96CF2BA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3E084467-5D21-4BEE-B508-F927666F803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66FC9F5A-165E-4D09-88F9-4BF2CAB0A53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B037334F-F1D4-4771-B9B1-FCB04EF1CA2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37862807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_Divider - Deloitte Blue">
    <p:bg bwMode="gray">
      <p:bgPr>
        <a:solidFill>
          <a:srgbClr val="005587"/>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025536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_Divider - Deloitte Teal">
    <p:bg bwMode="gray">
      <p:bgPr>
        <a:solidFill>
          <a:srgbClr val="004F59"/>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2102963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28458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245522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00698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91435820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of text">
    <p:bg>
      <p:bgPr>
        <a:solidFill>
          <a:schemeClr val="tx1"/>
        </a:solidFill>
        <a:effectLst/>
      </p:bgPr>
    </p:bg>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aseCode">
            <a:extLst>
              <a:ext uri="{FF2B5EF4-FFF2-40B4-BE49-F238E27FC236}">
                <a16:creationId xmlns:a16="http://schemas.microsoft.com/office/drawing/2014/main" id="{FA3F73AF-7771-204E-86AB-AF9A33E8040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8" name="Copyright">
            <a:extLst>
              <a:ext uri="{FF2B5EF4-FFF2-40B4-BE49-F238E27FC236}">
                <a16:creationId xmlns:a16="http://schemas.microsoft.com/office/drawing/2014/main" id="{A89AB86D-23C7-BF41-90B1-22ADB149797F}"/>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bg1"/>
                </a:solidFill>
                <a:latin typeface="+mn-lt"/>
                <a:cs typeface="Calibri" panose="020F0502020204030204" pitchFamily="34" charset="0"/>
              </a:rPr>
              <a:t>Copyright © 2021 Deloitte Development LLC. All rights reserved.</a:t>
            </a:r>
          </a:p>
        </p:txBody>
      </p:sp>
      <p:sp>
        <p:nvSpPr>
          <p:cNvPr id="9" name="TextBox 8">
            <a:extLst>
              <a:ext uri="{FF2B5EF4-FFF2-40B4-BE49-F238E27FC236}">
                <a16:creationId xmlns:a16="http://schemas.microsoft.com/office/drawing/2014/main" id="{41B64605-1F7B-B74A-BE95-88E701A0AAE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0593146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8036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9156167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534160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526072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1489188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8113661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89569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58410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390241289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043361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876540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5287170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0052748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636551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402419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326702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51955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Full Bleed Image">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5452D8-8F21-0C4E-9A83-DE459B0158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715"/>
            <a:ext cx="12192000" cy="6850569"/>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7253943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descr="A close up of a computer keyboard&#10;&#10;Description automatically generated with low confidence">
            <a:extLst>
              <a:ext uri="{FF2B5EF4-FFF2-40B4-BE49-F238E27FC236}">
                <a16:creationId xmlns:a16="http://schemas.microsoft.com/office/drawing/2014/main" id="{E82A6CC6-BC47-904D-B0FD-76A9EAABD8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990" y="851338"/>
            <a:ext cx="12192000" cy="6006662"/>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8004905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2A6CC6-BC47-904D-B0FD-76A9EAABD8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32701"/>
            <a:ext cx="12192000" cy="5536210"/>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2811378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Divider-Full Blee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2A6CC6-BC47-904D-B0FD-76A9EAABD8BF}"/>
              </a:ext>
            </a:extLst>
          </p:cNvPr>
          <p:cNvPicPr>
            <a:picLocks noChangeAspect="1"/>
          </p:cNvPicPr>
          <p:nvPr userDrawn="1"/>
        </p:nvPicPr>
        <p:blipFill>
          <a:blip r:embed="rId2"/>
          <a:srcRect/>
          <a:stretch/>
        </p:blipFill>
        <p:spPr>
          <a:xfrm>
            <a:off x="0" y="1332701"/>
            <a:ext cx="12192000" cy="5536210"/>
          </a:xfrm>
          <a:prstGeom prst="rect">
            <a:avLst/>
          </a:prstGeom>
        </p:spPr>
      </p:pic>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34724651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8983420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5975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4CB94C39-8B87-5C4B-9C17-68F29CB21B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8" name="Title 1">
            <a:extLst>
              <a:ext uri="{FF2B5EF4-FFF2-40B4-BE49-F238E27FC236}">
                <a16:creationId xmlns:a16="http://schemas.microsoft.com/office/drawing/2014/main" id="{A1F907F8-2208-4940-8D2D-F7CC61BF7E35}"/>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9" name="Text Placeholder 2">
            <a:extLst>
              <a:ext uri="{FF2B5EF4-FFF2-40B4-BE49-F238E27FC236}">
                <a16:creationId xmlns:a16="http://schemas.microsoft.com/office/drawing/2014/main" id="{EED085EA-F5FD-204A-9146-361401A33B98}"/>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6696951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8955649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456246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955216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ADCA4F2-9E48-F244-9BBF-2116139680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42216" y="1052576"/>
            <a:ext cx="7952197" cy="5803900"/>
          </a:xfrm>
          <a:prstGeom prst="rect">
            <a:avLst/>
          </a:prstGeom>
        </p:spPr>
      </p:pic>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774016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OC_Black">
    <p:bg>
      <p:bgPr>
        <a:solidFill>
          <a:schemeClr val="tx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0715929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2_Key statement white">
    <p:bg>
      <p:bgPr>
        <a:solidFill>
          <a:schemeClr val="bg1"/>
        </a:solidFill>
        <a:effectLst/>
      </p:bgPr>
    </p:bg>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0453B57-B0D5-1F4E-BF68-AE443ED2B1A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6200000">
            <a:off x="6453357" y="850032"/>
            <a:ext cx="6367672" cy="4667608"/>
          </a:xfrm>
          <a:prstGeom prst="rect">
            <a:avLst/>
          </a:prstGeom>
        </p:spPr>
      </p:pic>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FA9F65BC-7533-43CA-92A0-A245602E6E6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Kinetic Enterprise</a:t>
            </a:r>
          </a:p>
        </p:txBody>
      </p:sp>
      <p:sp>
        <p:nvSpPr>
          <p:cNvPr id="10" name="Copyright">
            <a:extLst>
              <a:ext uri="{FF2B5EF4-FFF2-40B4-BE49-F238E27FC236}">
                <a16:creationId xmlns:a16="http://schemas.microsoft.com/office/drawing/2014/main" id="{D59DF38B-3D5A-46E1-8577-421AB8CF7A39}"/>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Copyright © 2020 Deloitte Development LLC. All rights reserved.</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1759316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pic>
        <p:nvPicPr>
          <p:cNvPr id="12" name="Picture 11" descr="Background pattern&#10;&#10;Description automatically generated">
            <a:extLst>
              <a:ext uri="{FF2B5EF4-FFF2-40B4-BE49-F238E27FC236}">
                <a16:creationId xmlns:a16="http://schemas.microsoft.com/office/drawing/2014/main" id="{EA0CCDF9-0CE4-CB4D-886C-87692FC246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7143567" y="1185756"/>
            <a:ext cx="7044730" cy="4465221"/>
          </a:xfrm>
          <a:prstGeom prst="rect">
            <a:avLst/>
          </a:prstGeom>
        </p:spPr>
      </p:pic>
    </p:spTree>
    <p:extLst>
      <p:ext uri="{BB962C8B-B14F-4D97-AF65-F5344CB8AC3E}">
        <p14:creationId xmlns:p14="http://schemas.microsoft.com/office/powerpoint/2010/main" val="309950279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a:t>Insert sponsorship mark here</a:t>
            </a:r>
            <a:endParaRPr lang="en-GB"/>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8728773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62973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_layout_0.5_0.4">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FACA42ED-29CB-47A7-B9A4-C56B5C143989}"/>
              </a:ext>
            </a:extLst>
          </p:cNvPr>
          <p:cNvSpPr>
            <a:spLocks noGrp="1"/>
          </p:cNvSpPr>
          <p:nvPr>
            <p:ph type="title"/>
          </p:nvPr>
        </p:nvSpPr>
        <p:spPr>
          <a:xfrm>
            <a:off x="457200" y="365760"/>
            <a:ext cx="11252200" cy="334102"/>
          </a:xfrm>
          <a:noFill/>
          <a:ln w="9525">
            <a:noFill/>
            <a:miter lim="800000"/>
            <a:headEnd/>
            <a:tailEnd/>
          </a:ln>
        </p:spPr>
        <p:txBody>
          <a:bodyPr lIns="0" rIns="0" anchor="b">
            <a:noAutofit/>
          </a:bodyPr>
          <a:lstStyle>
            <a:lvl1pPr>
              <a:defRPr sz="2000"/>
            </a:lvl1pPr>
          </a:lstStyle>
          <a:p>
            <a:pPr>
              <a:lnSpc>
                <a:spcPct val="95000"/>
              </a:lnSpc>
            </a:pPr>
            <a:endParaRPr lang="en-US" b="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53768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pic>
        <p:nvPicPr>
          <p:cNvPr id="3" name="Picture 2" descr="Chart&#10;&#10;Description automatically generated">
            <a:extLst>
              <a:ext uri="{FF2B5EF4-FFF2-40B4-BE49-F238E27FC236}">
                <a16:creationId xmlns:a16="http://schemas.microsoft.com/office/drawing/2014/main" id="{34F5B603-8BEE-C94E-8E56-823C3D6BC5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6188" y="1115180"/>
            <a:ext cx="8405812" cy="5327926"/>
          </a:xfrm>
          <a:prstGeom prst="rect">
            <a:avLst/>
          </a:prstGeom>
        </p:spPr>
      </p:pic>
      <p:sp>
        <p:nvSpPr>
          <p:cNvPr id="8" name="Title 1">
            <a:extLst>
              <a:ext uri="{FF2B5EF4-FFF2-40B4-BE49-F238E27FC236}">
                <a16:creationId xmlns:a16="http://schemas.microsoft.com/office/drawing/2014/main" id="{A1F907F8-2208-4940-8D2D-F7CC61BF7E35}"/>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9" name="Text Placeholder 2">
            <a:extLst>
              <a:ext uri="{FF2B5EF4-FFF2-40B4-BE49-F238E27FC236}">
                <a16:creationId xmlns:a16="http://schemas.microsoft.com/office/drawing/2014/main" id="{EED085EA-F5FD-204A-9146-361401A33B98}"/>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532120204"/>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4">
    <p:bg bwMode="gray">
      <p:bgPr>
        <a:solidFill>
          <a:schemeClr val="accent3"/>
        </a:solidFill>
        <a:effectLst/>
      </p:bgPr>
    </p:bg>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861288AB-9C93-D640-A929-B71E3CD02A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DF09F051-A0EE-4A49-AC25-A3F0C2C11889}"/>
              </a:ext>
            </a:extLst>
          </p:cNvPr>
          <p:cNvSpPr txBox="1"/>
          <p:nvPr userDrawn="1"/>
        </p:nvSpPr>
        <p:spPr>
          <a:xfrm>
            <a:off x="469901"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7" name="Title 1">
            <a:extLst>
              <a:ext uri="{FF2B5EF4-FFF2-40B4-BE49-F238E27FC236}">
                <a16:creationId xmlns:a16="http://schemas.microsoft.com/office/drawing/2014/main" id="{12927CF1-BAB3-EB46-AF8C-D8C059A69432}"/>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0" name="Text Placeholder 2">
            <a:extLst>
              <a:ext uri="{FF2B5EF4-FFF2-40B4-BE49-F238E27FC236}">
                <a16:creationId xmlns:a16="http://schemas.microsoft.com/office/drawing/2014/main" id="{E4A7D03D-9579-F145-AA7E-F28AB0EDF304}"/>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7876379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dark&#10;&#10;Description automatically generated">
            <a:extLst>
              <a:ext uri="{FF2B5EF4-FFF2-40B4-BE49-F238E27FC236}">
                <a16:creationId xmlns:a16="http://schemas.microsoft.com/office/drawing/2014/main" id="{C53474EA-1434-604A-965E-350A709D1C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56817" y="751647"/>
            <a:ext cx="6322874" cy="5725353"/>
          </a:xfrm>
          <a:prstGeom prst="rect">
            <a:avLst/>
          </a:prstGeom>
        </p:spPr>
      </p:pic>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09" y="790103"/>
            <a:ext cx="12193294" cy="6921199"/>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339069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1" name="Title 1">
            <a:extLst>
              <a:ext uri="{FF2B5EF4-FFF2-40B4-BE49-F238E27FC236}">
                <a16:creationId xmlns:a16="http://schemas.microsoft.com/office/drawing/2014/main" id="{8C0B26E2-7A1D-4143-86B7-99E73A374CCE}"/>
              </a:ext>
            </a:extLst>
          </p:cNvPr>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763F4744-9003-2540-9EBB-077F2D01E275}"/>
              </a:ext>
            </a:extLst>
          </p:cNvPr>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2057986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Divider - Deloitte green">
    <p:bg bwMode="gray">
      <p:bgPr>
        <a:solidFill>
          <a:srgbClr val="86BC25"/>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ECB11B5-2C44-EB49-8752-C859A9C947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15436"/>
            <a:ext cx="12192000" cy="6920464"/>
          </a:xfrm>
          <a:prstGeom prst="rect">
            <a:avLst/>
          </a:prstGeom>
        </p:spPr>
      </p:pic>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899" y="3321003"/>
            <a:ext cx="10418233"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Kinetic Enterprise</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41463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277791"/>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4063" r:id="rId5"/>
    <p:sldLayoutId id="2147483998" r:id="rId6"/>
    <p:sldLayoutId id="2147483999" r:id="rId7"/>
    <p:sldLayoutId id="2147484064" r:id="rId8"/>
    <p:sldLayoutId id="2147484046" r:id="rId9"/>
    <p:sldLayoutId id="2147484047" r:id="rId10"/>
    <p:sldLayoutId id="2147484048" r:id="rId11"/>
    <p:sldLayoutId id="2147484000" r:id="rId12"/>
    <p:sldLayoutId id="2147484001" r:id="rId13"/>
    <p:sldLayoutId id="2147484002" r:id="rId14"/>
    <p:sldLayoutId id="2147484003" r:id="rId15"/>
    <p:sldLayoutId id="2147484004" r:id="rId16"/>
    <p:sldLayoutId id="2147484005" r:id="rId17"/>
    <p:sldLayoutId id="2147484006" r:id="rId18"/>
    <p:sldLayoutId id="2147484062" r:id="rId19"/>
    <p:sldLayoutId id="2147484008" r:id="rId20"/>
    <p:sldLayoutId id="2147484009" r:id="rId21"/>
    <p:sldLayoutId id="2147484010" r:id="rId22"/>
    <p:sldLayoutId id="2147484011" r:id="rId23"/>
    <p:sldLayoutId id="2147484012" r:id="rId24"/>
    <p:sldLayoutId id="2147484013" r:id="rId25"/>
    <p:sldLayoutId id="2147484014" r:id="rId26"/>
    <p:sldLayoutId id="2147484015" r:id="rId27"/>
    <p:sldLayoutId id="2147484016" r:id="rId28"/>
    <p:sldLayoutId id="2147484017" r:id="rId29"/>
    <p:sldLayoutId id="2147484018" r:id="rId30"/>
    <p:sldLayoutId id="2147484019" r:id="rId31"/>
    <p:sldLayoutId id="2147484020" r:id="rId32"/>
    <p:sldLayoutId id="2147484021" r:id="rId33"/>
    <p:sldLayoutId id="2147484041" r:id="rId34"/>
    <p:sldLayoutId id="2147484060" r:id="rId35"/>
    <p:sldLayoutId id="2147484061" r:id="rId36"/>
    <p:sldLayoutId id="2147484065" r:id="rId37"/>
    <p:sldLayoutId id="2147484022" r:id="rId38"/>
    <p:sldLayoutId id="2147484023" r:id="rId39"/>
    <p:sldLayoutId id="2147484024" r:id="rId40"/>
    <p:sldLayoutId id="2147484025" r:id="rId41"/>
    <p:sldLayoutId id="2147484027" r:id="rId42"/>
    <p:sldLayoutId id="2147484042" r:id="rId43"/>
    <p:sldLayoutId id="2147484043" r:id="rId44"/>
    <p:sldLayoutId id="2147484045" r:id="rId45"/>
    <p:sldLayoutId id="2147484044" r:id="rId46"/>
    <p:sldLayoutId id="2147484040" r:id="rId47"/>
    <p:sldLayoutId id="2147484072" r:id="rId48"/>
    <p:sldLayoutId id="2147484073" r:id="rId49"/>
  </p:sldLayoutIdLst>
  <p:transition>
    <p:fade/>
  </p:transition>
  <p:hf hdr="0" ft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userDrawn="1">
          <p15:clr>
            <a:srgbClr val="F26B43"/>
          </p15:clr>
        </p15:guide>
        <p15:guide id="65" orient="horz" pos="2160" userDrawn="1">
          <p15:clr>
            <a:srgbClr val="F26B43"/>
          </p15:clr>
        </p15:guide>
        <p15:guide id="66" orient="horz" pos="3968" userDrawn="1">
          <p15:clr>
            <a:srgbClr val="F26B43"/>
          </p15:clr>
        </p15:guide>
        <p15:guide id="67" pos="312" userDrawn="1">
          <p15:clr>
            <a:srgbClr val="F26B43"/>
          </p15:clr>
        </p15:guide>
        <p15:guide id="68" pos="7368" userDrawn="1">
          <p15:clr>
            <a:srgbClr val="F26B43"/>
          </p15:clr>
        </p15:guide>
        <p15:guide id="69" orient="horz" pos="245" userDrawn="1">
          <p15:clr>
            <a:srgbClr val="F26B43"/>
          </p15:clr>
        </p15:guide>
        <p15:guide id="70" orient="horz" pos="4081" userDrawn="1">
          <p15:clr>
            <a:srgbClr val="F26B43"/>
          </p15:clr>
        </p15:guide>
        <p15:guide id="71" pos="4986" userDrawn="1">
          <p15:clr>
            <a:srgbClr val="F26B43"/>
          </p15:clr>
        </p15:guide>
        <p15:guide id="72" pos="1382" userDrawn="1">
          <p15:clr>
            <a:srgbClr val="F26B43"/>
          </p15:clr>
        </p15:guide>
        <p15:guide id="73" pos="1496" userDrawn="1">
          <p15:clr>
            <a:srgbClr val="F26B43"/>
          </p15:clr>
        </p15:guide>
        <p15:guide id="74" pos="2581" userDrawn="1">
          <p15:clr>
            <a:srgbClr val="F26B43"/>
          </p15:clr>
        </p15:guide>
        <p15:guide id="75" pos="2695" userDrawn="1">
          <p15:clr>
            <a:srgbClr val="F26B43"/>
          </p15:clr>
        </p15:guide>
        <p15:guide id="76" pos="6185" userDrawn="1">
          <p15:clr>
            <a:srgbClr val="F26B43"/>
          </p15:clr>
        </p15:guide>
        <p15:guide id="77" pos="3783" userDrawn="1">
          <p15:clr>
            <a:srgbClr val="F26B43"/>
          </p15:clr>
        </p15:guide>
        <p15:guide id="78" pos="3896" userDrawn="1">
          <p15:clr>
            <a:srgbClr val="F26B43"/>
          </p15:clr>
        </p15:guide>
        <p15:guide id="79" pos="3840" userDrawn="1">
          <p15:clr>
            <a:srgbClr val="F26B43"/>
          </p15:clr>
        </p15:guide>
        <p15:guide id="80" pos="6299" userDrawn="1">
          <p15:clr>
            <a:srgbClr val="F26B43"/>
          </p15:clr>
        </p15:guide>
        <p15:guide id="81" orient="horz" pos="1049" userDrawn="1">
          <p15:clr>
            <a:srgbClr val="F26B43"/>
          </p15:clr>
        </p15:guide>
        <p15:guide id="82" orient="horz" pos="641" userDrawn="1">
          <p15:clr>
            <a:srgbClr val="F26B43"/>
          </p15:clr>
        </p15:guide>
        <p15:guide id="8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49.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jpe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7.xml"/><Relationship Id="rId16" Type="http://schemas.openxmlformats.org/officeDocument/2006/relationships/image" Target="../media/image28.svg"/><Relationship Id="rId1" Type="http://schemas.openxmlformats.org/officeDocument/2006/relationships/slideLayout" Target="../slideLayouts/slideLayout38.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a:latin typeface="+mn-lt"/>
                <a:cs typeface="Calibri"/>
              </a:rPr>
              <a:t>14-Feb-2023</a:t>
            </a:r>
            <a:endParaRPr lang="en-US">
              <a:latin typeface="+mn-lt"/>
            </a:endParaRPr>
          </a:p>
        </p:txBody>
      </p:sp>
      <p:pic>
        <p:nvPicPr>
          <p:cNvPr id="7" name="Picture 6">
            <a:extLst>
              <a:ext uri="{FF2B5EF4-FFF2-40B4-BE49-F238E27FC236}">
                <a16:creationId xmlns:a16="http://schemas.microsoft.com/office/drawing/2014/main" id="{FB58598A-3661-FE4F-B2F9-CDB4F6EFEF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22048" y="5257803"/>
            <a:ext cx="1483061" cy="1483061"/>
          </a:xfrm>
          <a:prstGeom prst="rect">
            <a:avLst/>
          </a:prstGeom>
        </p:spPr>
      </p:pic>
      <p:pic>
        <p:nvPicPr>
          <p:cNvPr id="3" name="Picture 2">
            <a:extLst>
              <a:ext uri="{FF2B5EF4-FFF2-40B4-BE49-F238E27FC236}">
                <a16:creationId xmlns:a16="http://schemas.microsoft.com/office/drawing/2014/main" id="{ED499F5B-62DD-D34B-8F92-57604AD4AE7A}"/>
              </a:ext>
            </a:extLst>
          </p:cNvPr>
          <p:cNvPicPr>
            <a:picLocks noChangeAspect="1"/>
          </p:cNvPicPr>
          <p:nvPr/>
        </p:nvPicPr>
        <p:blipFill>
          <a:blip r:embed="rId4"/>
          <a:stretch>
            <a:fillRect/>
          </a:stretch>
        </p:blipFill>
        <p:spPr>
          <a:xfrm>
            <a:off x="2587532" y="-266757"/>
            <a:ext cx="7016936" cy="7016936"/>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501651" y="3723701"/>
            <a:ext cx="9055866" cy="2353347"/>
          </a:xfrm>
        </p:spPr>
        <p:txBody>
          <a:bodyPr/>
          <a:lstStyle/>
          <a:p>
            <a:r>
              <a:rPr lang="en-US">
                <a:latin typeface="Calibri Light"/>
                <a:ea typeface="Open Sans"/>
                <a:cs typeface="Calibri Light"/>
              </a:rPr>
              <a:t>Supplier Payment Processing Assessment Workshop</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
            <a:extLst>
              <a:ext uri="{FF2B5EF4-FFF2-40B4-BE49-F238E27FC236}">
                <a16:creationId xmlns:a16="http://schemas.microsoft.com/office/drawing/2014/main" id="{CB48A1D1-2C9F-485B-B6D7-D60EC2B4BBA3}"/>
              </a:ext>
            </a:extLst>
          </p:cNvPr>
          <p:cNvSpPr txBox="1">
            <a:spLocks/>
          </p:cNvSpPr>
          <p:nvPr/>
        </p:nvSpPr>
        <p:spPr>
          <a:xfrm>
            <a:off x="387979" y="752437"/>
            <a:ext cx="11481308" cy="75725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Oracle Sans Light" panose="020B0403020204020204" pitchFamily="34" charset="0"/>
                <a:ea typeface="+mn-ea"/>
                <a:cs typeface="Oracle Sans Light" panose="020B04030202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Oracle Sans Light" panose="020B0403020204020204" pitchFamily="34" charset="0"/>
                <a:ea typeface="+mn-ea"/>
                <a:cs typeface="Oracle Sans Light" panose="020B04030202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racle Sans Light" panose="020B0403020204020204" pitchFamily="34" charset="0"/>
                <a:ea typeface="+mn-ea"/>
                <a:cs typeface="Oracle Sans Light" panose="020B04030202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Oracle Sans Light" panose="020B0403020204020204" pitchFamily="34" charset="0"/>
                <a:ea typeface="+mn-ea"/>
                <a:cs typeface="Oracle Sans Light" panose="020B04030202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Oracle Sans Light" panose="020B0403020204020204" pitchFamily="34" charset="0"/>
                <a:ea typeface="+mn-ea"/>
                <a:cs typeface="Oracle Sans Light" panose="020B04030202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rgbClr val="53565A"/>
                </a:solidFill>
                <a:latin typeface="+mn-lt"/>
                <a:cs typeface="Calibri Light"/>
              </a:rPr>
              <a:t>Payment types identify how a payment is recorded in Oracle Cloud Payables. </a:t>
            </a:r>
          </a:p>
          <a:p>
            <a:r>
              <a:rPr lang="en-US" sz="1400">
                <a:latin typeface="Calibri"/>
                <a:cs typeface="Calibri"/>
              </a:rPr>
              <a:t>When you manage payments, you can search for payments by type. The focus is on automation and attempts to eliminate the redundancies of manual intervention in creation of a payment file.</a:t>
            </a:r>
          </a:p>
        </p:txBody>
      </p:sp>
      <p:sp>
        <p:nvSpPr>
          <p:cNvPr id="25" name="Title 1">
            <a:extLst>
              <a:ext uri="{FF2B5EF4-FFF2-40B4-BE49-F238E27FC236}">
                <a16:creationId xmlns:a16="http://schemas.microsoft.com/office/drawing/2014/main" id="{51A1E561-8416-4044-B954-7D325EDD61B0}"/>
              </a:ext>
            </a:extLst>
          </p:cNvPr>
          <p:cNvSpPr>
            <a:spLocks noGrp="1"/>
          </p:cNvSpPr>
          <p:nvPr>
            <p:ph type="title"/>
          </p:nvPr>
        </p:nvSpPr>
        <p:spPr>
          <a:xfrm>
            <a:off x="466635" y="330065"/>
            <a:ext cx="11237568" cy="473999"/>
          </a:xfrm>
        </p:spPr>
        <p:txBody>
          <a:bodyPr/>
          <a:lstStyle/>
          <a:p>
            <a:r>
              <a:rPr lang="en-US" sz="3000" b="1">
                <a:latin typeface="+mj-lt"/>
                <a:cs typeface="Calibri Light"/>
              </a:rPr>
              <a:t>Payment</a:t>
            </a:r>
            <a:r>
              <a:rPr lang="en-US" sz="2003">
                <a:latin typeface="Calibri" panose="020F0502020204030204" pitchFamily="34" charset="0"/>
                <a:cs typeface="Calibri" panose="020F0502020204030204" pitchFamily="34" charset="0"/>
              </a:rPr>
              <a:t> </a:t>
            </a:r>
            <a:r>
              <a:rPr lang="en-US" sz="3000" b="1">
                <a:latin typeface="+mj-lt"/>
                <a:cs typeface="Calibri Light"/>
              </a:rPr>
              <a:t>Processing</a:t>
            </a:r>
          </a:p>
        </p:txBody>
      </p:sp>
      <p:grpSp>
        <p:nvGrpSpPr>
          <p:cNvPr id="5" name="Group 4">
            <a:extLst>
              <a:ext uri="{FF2B5EF4-FFF2-40B4-BE49-F238E27FC236}">
                <a16:creationId xmlns:a16="http://schemas.microsoft.com/office/drawing/2014/main" id="{34CDA17D-C3AC-43EA-8960-71A16955799F}"/>
              </a:ext>
            </a:extLst>
          </p:cNvPr>
          <p:cNvGrpSpPr/>
          <p:nvPr/>
        </p:nvGrpSpPr>
        <p:grpSpPr>
          <a:xfrm>
            <a:off x="1026822" y="4224544"/>
            <a:ext cx="10136591" cy="2555971"/>
            <a:chOff x="1486515" y="3915043"/>
            <a:chExt cx="10136591" cy="2555971"/>
          </a:xfrm>
        </p:grpSpPr>
        <p:sp>
          <p:nvSpPr>
            <p:cNvPr id="38" name="Rectangle 37">
              <a:extLst>
                <a:ext uri="{FF2B5EF4-FFF2-40B4-BE49-F238E27FC236}">
                  <a16:creationId xmlns:a16="http://schemas.microsoft.com/office/drawing/2014/main" id="{84A24129-CA17-4B07-90FE-44AFFDBDD906}"/>
                </a:ext>
              </a:extLst>
            </p:cNvPr>
            <p:cNvSpPr/>
            <p:nvPr/>
          </p:nvSpPr>
          <p:spPr bwMode="gray">
            <a:xfrm>
              <a:off x="1486515" y="3915043"/>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Create Payment</a:t>
              </a:r>
            </a:p>
          </p:txBody>
        </p:sp>
        <p:sp>
          <p:nvSpPr>
            <p:cNvPr id="39" name="Rectangle 38">
              <a:extLst>
                <a:ext uri="{FF2B5EF4-FFF2-40B4-BE49-F238E27FC236}">
                  <a16:creationId xmlns:a16="http://schemas.microsoft.com/office/drawing/2014/main" id="{3A5C0AEC-B8BB-4A6C-A589-8C0549577440}"/>
                </a:ext>
              </a:extLst>
            </p:cNvPr>
            <p:cNvSpPr/>
            <p:nvPr/>
          </p:nvSpPr>
          <p:spPr bwMode="gray">
            <a:xfrm>
              <a:off x="6149985" y="4845796"/>
              <a:ext cx="1371600" cy="384698"/>
            </a:xfrm>
            <a:prstGeom prst="rect">
              <a:avLst/>
            </a:prstGeom>
            <a:solidFill>
              <a:srgbClr val="92D050"/>
            </a:solidFill>
            <a:ln>
              <a:noFill/>
            </a:ln>
            <a:effectLst/>
          </p:spPr>
          <p:txBody>
            <a:bodyPr vert="horz" lIns="91440" tIns="45720" rIns="91440" bIns="45720" rtlCol="0" anchor="ctr"/>
            <a:lstStyle/>
            <a:p>
              <a:pPr algn="ctr"/>
              <a:r>
                <a:rPr lang="en-US" sz="1200" b="1" kern="0">
                  <a:solidFill>
                    <a:srgbClr val="000000"/>
                  </a:solidFill>
                  <a:latin typeface="Calibri"/>
                  <a:ea typeface="Calibri"/>
                  <a:cs typeface="Calibri"/>
                </a:rPr>
                <a:t>Payment Formatting</a:t>
              </a:r>
            </a:p>
          </p:txBody>
        </p:sp>
        <p:sp>
          <p:nvSpPr>
            <p:cNvPr id="40" name="Rectangle 39">
              <a:extLst>
                <a:ext uri="{FF2B5EF4-FFF2-40B4-BE49-F238E27FC236}">
                  <a16:creationId xmlns:a16="http://schemas.microsoft.com/office/drawing/2014/main" id="{43E93ABD-6030-47F1-8F67-B65FDDA1FF26}"/>
                </a:ext>
              </a:extLst>
            </p:cNvPr>
            <p:cNvSpPr/>
            <p:nvPr/>
          </p:nvSpPr>
          <p:spPr bwMode="gray">
            <a:xfrm>
              <a:off x="8005760" y="4845930"/>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Create Payment Files</a:t>
              </a:r>
            </a:p>
          </p:txBody>
        </p:sp>
        <p:sp>
          <p:nvSpPr>
            <p:cNvPr id="41" name="Rectangle 40">
              <a:extLst>
                <a:ext uri="{FF2B5EF4-FFF2-40B4-BE49-F238E27FC236}">
                  <a16:creationId xmlns:a16="http://schemas.microsoft.com/office/drawing/2014/main" id="{DA242DDB-C44F-43AF-8769-90285C33172C}"/>
                </a:ext>
              </a:extLst>
            </p:cNvPr>
            <p:cNvSpPr/>
            <p:nvPr/>
          </p:nvSpPr>
          <p:spPr bwMode="gray">
            <a:xfrm>
              <a:off x="10246405" y="4178092"/>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Print Documents</a:t>
              </a:r>
            </a:p>
          </p:txBody>
        </p:sp>
        <p:cxnSp>
          <p:nvCxnSpPr>
            <p:cNvPr id="42" name="Connector: Elbow 41">
              <a:extLst>
                <a:ext uri="{FF2B5EF4-FFF2-40B4-BE49-F238E27FC236}">
                  <a16:creationId xmlns:a16="http://schemas.microsoft.com/office/drawing/2014/main" id="{D4BE5B69-142E-433A-BF88-164810027C3B}"/>
                </a:ext>
              </a:extLst>
            </p:cNvPr>
            <p:cNvCxnSpPr>
              <a:cxnSpLocks/>
              <a:stCxn id="38" idx="3"/>
              <a:endCxn id="48" idx="1"/>
            </p:cNvCxnSpPr>
            <p:nvPr/>
          </p:nvCxnSpPr>
          <p:spPr>
            <a:xfrm>
              <a:off x="2858115" y="4107392"/>
              <a:ext cx="1170054" cy="925557"/>
            </a:xfrm>
            <a:prstGeom prst="bentConnector3">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07F7B3C9-4469-454F-AEC8-751469694940}"/>
                </a:ext>
              </a:extLst>
            </p:cNvPr>
            <p:cNvCxnSpPr>
              <a:cxnSpLocks/>
              <a:stCxn id="39" idx="3"/>
              <a:endCxn id="40" idx="1"/>
            </p:cNvCxnSpPr>
            <p:nvPr/>
          </p:nvCxnSpPr>
          <p:spPr>
            <a:xfrm>
              <a:off x="7521585" y="5038146"/>
              <a:ext cx="484175" cy="133"/>
            </a:xfrm>
            <a:prstGeom prst="bentConnector3">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89CDC4CD-B0AD-4212-8FBA-42CB7FBD4ED5}"/>
                </a:ext>
              </a:extLst>
            </p:cNvPr>
            <p:cNvCxnSpPr>
              <a:cxnSpLocks/>
              <a:stCxn id="40" idx="3"/>
              <a:endCxn id="41" idx="1"/>
            </p:cNvCxnSpPr>
            <p:nvPr/>
          </p:nvCxnSpPr>
          <p:spPr>
            <a:xfrm flipV="1">
              <a:off x="9377360" y="4370442"/>
              <a:ext cx="869045" cy="667837"/>
            </a:xfrm>
            <a:prstGeom prst="bentConnector3">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FB95E2D6-7D56-405B-9821-973B550E3B1C}"/>
                </a:ext>
              </a:extLst>
            </p:cNvPr>
            <p:cNvSpPr/>
            <p:nvPr/>
          </p:nvSpPr>
          <p:spPr bwMode="gray">
            <a:xfrm>
              <a:off x="1515412" y="4473630"/>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Installment Selection</a:t>
              </a:r>
            </a:p>
          </p:txBody>
        </p:sp>
        <p:sp>
          <p:nvSpPr>
            <p:cNvPr id="46" name="Rectangle 45">
              <a:extLst>
                <a:ext uri="{FF2B5EF4-FFF2-40B4-BE49-F238E27FC236}">
                  <a16:creationId xmlns:a16="http://schemas.microsoft.com/office/drawing/2014/main" id="{C94557C0-E2F6-43FC-88C7-1A2E352A5B39}"/>
                </a:ext>
              </a:extLst>
            </p:cNvPr>
            <p:cNvSpPr/>
            <p:nvPr/>
          </p:nvSpPr>
          <p:spPr bwMode="gray">
            <a:xfrm>
              <a:off x="1515412" y="5033944"/>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Document Validation</a:t>
              </a:r>
            </a:p>
          </p:txBody>
        </p:sp>
        <p:sp>
          <p:nvSpPr>
            <p:cNvPr id="47" name="Rectangle 46">
              <a:extLst>
                <a:ext uri="{FF2B5EF4-FFF2-40B4-BE49-F238E27FC236}">
                  <a16:creationId xmlns:a16="http://schemas.microsoft.com/office/drawing/2014/main" id="{8583FE5E-6D0C-47C3-94F8-4F12ED6D811C}"/>
                </a:ext>
              </a:extLst>
            </p:cNvPr>
            <p:cNvSpPr/>
            <p:nvPr/>
          </p:nvSpPr>
          <p:spPr bwMode="gray">
            <a:xfrm>
              <a:off x="1515412" y="5594257"/>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Payment Validation</a:t>
              </a:r>
            </a:p>
          </p:txBody>
        </p:sp>
        <p:sp>
          <p:nvSpPr>
            <p:cNvPr id="48" name="Rectangle 47">
              <a:extLst>
                <a:ext uri="{FF2B5EF4-FFF2-40B4-BE49-F238E27FC236}">
                  <a16:creationId xmlns:a16="http://schemas.microsoft.com/office/drawing/2014/main" id="{B6F9E417-F2CA-4B5C-A109-D85D97C089FA}"/>
                </a:ext>
              </a:extLst>
            </p:cNvPr>
            <p:cNvSpPr/>
            <p:nvPr/>
          </p:nvSpPr>
          <p:spPr bwMode="gray">
            <a:xfrm>
              <a:off x="4028169" y="4840599"/>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Payment Build</a:t>
              </a:r>
            </a:p>
          </p:txBody>
        </p:sp>
        <p:cxnSp>
          <p:nvCxnSpPr>
            <p:cNvPr id="49" name="Connector: Elbow 48">
              <a:extLst>
                <a:ext uri="{FF2B5EF4-FFF2-40B4-BE49-F238E27FC236}">
                  <a16:creationId xmlns:a16="http://schemas.microsoft.com/office/drawing/2014/main" id="{E933BCF3-0FB4-40A7-8202-DA48485D2BB5}"/>
                </a:ext>
              </a:extLst>
            </p:cNvPr>
            <p:cNvCxnSpPr>
              <a:cxnSpLocks/>
              <a:stCxn id="47" idx="2"/>
              <a:endCxn id="48" idx="1"/>
            </p:cNvCxnSpPr>
            <p:nvPr/>
          </p:nvCxnSpPr>
          <p:spPr>
            <a:xfrm rot="5400000" flipH="1" flipV="1">
              <a:off x="2641687" y="4592474"/>
              <a:ext cx="946007" cy="1826957"/>
            </a:xfrm>
            <a:prstGeom prst="bentConnector4">
              <a:avLst>
                <a:gd name="adj1" fmla="val -24165"/>
                <a:gd name="adj2" fmla="val 67575"/>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4D02B50-3C6D-4E5C-89F1-CEEA19D0174C}"/>
                </a:ext>
              </a:extLst>
            </p:cNvPr>
            <p:cNvSpPr/>
            <p:nvPr/>
          </p:nvSpPr>
          <p:spPr bwMode="gray">
            <a:xfrm>
              <a:off x="10246405" y="5346958"/>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Generate Files</a:t>
              </a:r>
            </a:p>
          </p:txBody>
        </p:sp>
        <p:sp>
          <p:nvSpPr>
            <p:cNvPr id="51" name="Rectangle 50">
              <a:extLst>
                <a:ext uri="{FF2B5EF4-FFF2-40B4-BE49-F238E27FC236}">
                  <a16:creationId xmlns:a16="http://schemas.microsoft.com/office/drawing/2014/main" id="{46077298-D8C1-4D37-82F4-D24C1B1884F1}"/>
                </a:ext>
              </a:extLst>
            </p:cNvPr>
            <p:cNvSpPr/>
            <p:nvPr/>
          </p:nvSpPr>
          <p:spPr bwMode="gray">
            <a:xfrm>
              <a:off x="10251506" y="6086316"/>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Transfer Files</a:t>
              </a:r>
            </a:p>
          </p:txBody>
        </p:sp>
        <p:sp>
          <p:nvSpPr>
            <p:cNvPr id="52" name="Rectangle 51">
              <a:extLst>
                <a:ext uri="{FF2B5EF4-FFF2-40B4-BE49-F238E27FC236}">
                  <a16:creationId xmlns:a16="http://schemas.microsoft.com/office/drawing/2014/main" id="{B37EE7D4-529C-4B55-A703-D507361C948F}"/>
                </a:ext>
              </a:extLst>
            </p:cNvPr>
            <p:cNvSpPr/>
            <p:nvPr/>
          </p:nvSpPr>
          <p:spPr bwMode="gray">
            <a:xfrm>
              <a:off x="8098267" y="4104887"/>
              <a:ext cx="1371600" cy="384698"/>
            </a:xfrm>
            <a:prstGeom prst="rect">
              <a:avLst/>
            </a:prstGeom>
            <a:solidFill>
              <a:srgbClr val="92D050"/>
            </a:solidFill>
            <a:ln>
              <a:noFill/>
            </a:ln>
            <a:effectLst/>
          </p:spPr>
          <p:txBody>
            <a:bodyPr vert="horz" rtlCol="0" anchor="ctr"/>
            <a:lstStyle/>
            <a:p>
              <a:pPr algn="ctr"/>
              <a:r>
                <a:rPr lang="en-US" sz="1200" b="1" kern="0">
                  <a:solidFill>
                    <a:srgbClr val="000000"/>
                  </a:solidFill>
                  <a:latin typeface="Calibri" panose="020F0502020204030204" pitchFamily="34" charset="0"/>
                  <a:cs typeface="Calibri" panose="020F0502020204030204" pitchFamily="34" charset="0"/>
                </a:rPr>
                <a:t>Send Communication</a:t>
              </a:r>
            </a:p>
          </p:txBody>
        </p:sp>
        <p:cxnSp>
          <p:nvCxnSpPr>
            <p:cNvPr id="53" name="Connector: Elbow 52">
              <a:extLst>
                <a:ext uri="{FF2B5EF4-FFF2-40B4-BE49-F238E27FC236}">
                  <a16:creationId xmlns:a16="http://schemas.microsoft.com/office/drawing/2014/main" id="{E8A7C574-EA05-4891-BE34-69ADB344193E}"/>
                </a:ext>
              </a:extLst>
            </p:cNvPr>
            <p:cNvCxnSpPr>
              <a:cxnSpLocks/>
              <a:stCxn id="40" idx="3"/>
              <a:endCxn id="50" idx="1"/>
            </p:cNvCxnSpPr>
            <p:nvPr/>
          </p:nvCxnSpPr>
          <p:spPr>
            <a:xfrm>
              <a:off x="9377360" y="5038278"/>
              <a:ext cx="869045" cy="501028"/>
            </a:xfrm>
            <a:prstGeom prst="bentConnector3">
              <a:avLst>
                <a:gd name="adj1" fmla="val 50000"/>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310DD7CF-D565-4945-AE3A-B7644A7B0E1C}"/>
                </a:ext>
              </a:extLst>
            </p:cNvPr>
            <p:cNvCxnSpPr>
              <a:cxnSpLocks/>
              <a:stCxn id="40" idx="0"/>
              <a:endCxn id="52" idx="1"/>
            </p:cNvCxnSpPr>
            <p:nvPr/>
          </p:nvCxnSpPr>
          <p:spPr>
            <a:xfrm rot="16200000" flipV="1">
              <a:off x="8120569" y="4274937"/>
              <a:ext cx="548693" cy="593293"/>
            </a:xfrm>
            <a:prstGeom prst="bentConnector4">
              <a:avLst>
                <a:gd name="adj1" fmla="val 32472"/>
                <a:gd name="adj2" fmla="val 154123"/>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97CC6E29-DBBE-4C7C-B2C2-C73425F12699}"/>
                </a:ext>
              </a:extLst>
            </p:cNvPr>
            <p:cNvCxnSpPr>
              <a:cxnSpLocks/>
              <a:stCxn id="48" idx="3"/>
              <a:endCxn id="39" idx="1"/>
            </p:cNvCxnSpPr>
            <p:nvPr/>
          </p:nvCxnSpPr>
          <p:spPr>
            <a:xfrm>
              <a:off x="5399769" y="5032948"/>
              <a:ext cx="750216" cy="5197"/>
            </a:xfrm>
            <a:prstGeom prst="bentConnector3">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FAD70FC8-E8E8-4FCB-B981-5F07C13358D3}"/>
                </a:ext>
              </a:extLst>
            </p:cNvPr>
            <p:cNvCxnSpPr>
              <a:cxnSpLocks/>
              <a:stCxn id="50" idx="2"/>
              <a:endCxn id="51" idx="0"/>
            </p:cNvCxnSpPr>
            <p:nvPr/>
          </p:nvCxnSpPr>
          <p:spPr>
            <a:xfrm rot="16200000" flipH="1">
              <a:off x="10757425" y="5906435"/>
              <a:ext cx="354660" cy="5101"/>
            </a:xfrm>
            <a:prstGeom prst="bentConnector3">
              <a:avLst>
                <a:gd name="adj1" fmla="val 50000"/>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1" name="TextBox 70">
            <a:extLst>
              <a:ext uri="{FF2B5EF4-FFF2-40B4-BE49-F238E27FC236}">
                <a16:creationId xmlns:a16="http://schemas.microsoft.com/office/drawing/2014/main" id="{FFACD434-4648-447E-B090-39C80638FBD0}"/>
              </a:ext>
            </a:extLst>
          </p:cNvPr>
          <p:cNvSpPr txBox="1"/>
          <p:nvPr/>
        </p:nvSpPr>
        <p:spPr>
          <a:xfrm>
            <a:off x="727587" y="3813731"/>
            <a:ext cx="2469671" cy="309637"/>
          </a:xfrm>
          <a:prstGeom prst="rect">
            <a:avLst/>
          </a:prstGeom>
          <a:noFill/>
        </p:spPr>
        <p:txBody>
          <a:bodyPr wrap="square" rtlCol="0">
            <a:spAutoFit/>
          </a:bodyPr>
          <a:lstStyle/>
          <a:p>
            <a:r>
              <a:rPr lang="en-US" sz="1400" b="1">
                <a:latin typeface="Calibri" panose="020F0502020204030204" pitchFamily="34" charset="0"/>
                <a:cs typeface="Calibri" panose="020F0502020204030204" pitchFamily="34" charset="0"/>
              </a:rPr>
              <a:t>Payment Process</a:t>
            </a:r>
          </a:p>
        </p:txBody>
      </p:sp>
      <p:cxnSp>
        <p:nvCxnSpPr>
          <p:cNvPr id="98" name="Straight Connector 97">
            <a:extLst>
              <a:ext uri="{FF2B5EF4-FFF2-40B4-BE49-F238E27FC236}">
                <a16:creationId xmlns:a16="http://schemas.microsoft.com/office/drawing/2014/main" id="{6E1FB582-3A10-4FEE-B763-CA68EEC1CECA}"/>
              </a:ext>
            </a:extLst>
          </p:cNvPr>
          <p:cNvCxnSpPr>
            <a:cxnSpLocks/>
          </p:cNvCxnSpPr>
          <p:nvPr/>
        </p:nvCxnSpPr>
        <p:spPr>
          <a:xfrm>
            <a:off x="727587" y="1942197"/>
            <a:ext cx="10705823" cy="0"/>
          </a:xfrm>
          <a:prstGeom prst="line">
            <a:avLst/>
          </a:prstGeom>
          <a:noFill/>
          <a:ln w="19050" cap="flat" cmpd="sng" algn="ctr">
            <a:solidFill>
              <a:schemeClr val="tx1"/>
            </a:solidFill>
            <a:prstDash val="solid"/>
          </a:ln>
          <a:effectLst/>
        </p:spPr>
      </p:cxnSp>
      <p:sp>
        <p:nvSpPr>
          <p:cNvPr id="99" name="TextBox 98">
            <a:extLst>
              <a:ext uri="{FF2B5EF4-FFF2-40B4-BE49-F238E27FC236}">
                <a16:creationId xmlns:a16="http://schemas.microsoft.com/office/drawing/2014/main" id="{3A932941-6A13-4614-8BDB-1886ECC17676}"/>
              </a:ext>
            </a:extLst>
          </p:cNvPr>
          <p:cNvSpPr txBox="1"/>
          <p:nvPr/>
        </p:nvSpPr>
        <p:spPr>
          <a:xfrm>
            <a:off x="627213" y="1659315"/>
            <a:ext cx="2469671" cy="309637"/>
          </a:xfrm>
          <a:prstGeom prst="rect">
            <a:avLst/>
          </a:prstGeom>
          <a:noFill/>
        </p:spPr>
        <p:txBody>
          <a:bodyPr wrap="square" rtlCol="0">
            <a:spAutoFit/>
          </a:bodyPr>
          <a:lstStyle/>
          <a:p>
            <a:r>
              <a:rPr lang="en-US" sz="1412" b="1">
                <a:latin typeface="Calibri" panose="020F0502020204030204" pitchFamily="34" charset="0"/>
                <a:cs typeface="Calibri" panose="020F0502020204030204" pitchFamily="34" charset="0"/>
              </a:rPr>
              <a:t>Payment Types</a:t>
            </a:r>
          </a:p>
        </p:txBody>
      </p:sp>
      <p:cxnSp>
        <p:nvCxnSpPr>
          <p:cNvPr id="55" name="Straight Connector 54">
            <a:extLst>
              <a:ext uri="{FF2B5EF4-FFF2-40B4-BE49-F238E27FC236}">
                <a16:creationId xmlns:a16="http://schemas.microsoft.com/office/drawing/2014/main" id="{D15142FF-C02E-4758-A40C-172D7FB3EABD}"/>
              </a:ext>
            </a:extLst>
          </p:cNvPr>
          <p:cNvCxnSpPr>
            <a:cxnSpLocks/>
          </p:cNvCxnSpPr>
          <p:nvPr/>
        </p:nvCxnSpPr>
        <p:spPr>
          <a:xfrm>
            <a:off x="800979" y="4150122"/>
            <a:ext cx="10632431" cy="0"/>
          </a:xfrm>
          <a:prstGeom prst="line">
            <a:avLst/>
          </a:prstGeom>
          <a:noFill/>
          <a:ln w="19050" cap="flat" cmpd="sng" algn="ctr">
            <a:solidFill>
              <a:schemeClr val="tx1"/>
            </a:solidFill>
            <a:prstDash val="solid"/>
          </a:ln>
          <a:effectLst/>
        </p:spPr>
      </p:cxnSp>
      <p:grpSp>
        <p:nvGrpSpPr>
          <p:cNvPr id="6" name="Group 5">
            <a:extLst>
              <a:ext uri="{FF2B5EF4-FFF2-40B4-BE49-F238E27FC236}">
                <a16:creationId xmlns:a16="http://schemas.microsoft.com/office/drawing/2014/main" id="{0112693C-7E2E-445C-A1D6-6F482FCE47E4}"/>
              </a:ext>
            </a:extLst>
          </p:cNvPr>
          <p:cNvGrpSpPr/>
          <p:nvPr/>
        </p:nvGrpSpPr>
        <p:grpSpPr>
          <a:xfrm>
            <a:off x="963723" y="2033272"/>
            <a:ext cx="10820185" cy="1641579"/>
            <a:chOff x="868307" y="1659982"/>
            <a:chExt cx="10820185" cy="1641579"/>
          </a:xfrm>
        </p:grpSpPr>
        <p:sp>
          <p:nvSpPr>
            <p:cNvPr id="97" name="AutoShape 3">
              <a:extLst>
                <a:ext uri="{FF2B5EF4-FFF2-40B4-BE49-F238E27FC236}">
                  <a16:creationId xmlns:a16="http://schemas.microsoft.com/office/drawing/2014/main" id="{F086843B-5F96-45C9-A179-8D604CBE7BD0}"/>
                </a:ext>
              </a:extLst>
            </p:cNvPr>
            <p:cNvSpPr>
              <a:spLocks noChangeArrowheads="1"/>
            </p:cNvSpPr>
            <p:nvPr/>
          </p:nvSpPr>
          <p:spPr bwMode="gray">
            <a:xfrm rot="5400000">
              <a:off x="7703242" y="-1517570"/>
              <a:ext cx="457200" cy="6812304"/>
            </a:xfrm>
            <a:prstGeom prst="homePlate">
              <a:avLst>
                <a:gd name="adj" fmla="val 26949"/>
              </a:avLst>
            </a:prstGeom>
            <a:solidFill>
              <a:schemeClr val="accent2"/>
            </a:solidFill>
            <a:ln w="9525" algn="ctr">
              <a:noFill/>
              <a:miter lim="800000"/>
              <a:headEnd/>
              <a:tailEnd/>
            </a:ln>
            <a:effectLst/>
          </p:spPr>
          <p:txBody>
            <a:bodyPr rot="10800000" vert="eaVert" lIns="91440" tIns="91440" rIns="91440" bIns="91440" anchor="ctr"/>
            <a:lstStyle/>
            <a:p>
              <a:pPr algn="ctr"/>
              <a:r>
                <a:rPr lang="en-US" sz="1412" b="1">
                  <a:solidFill>
                    <a:schemeClr val="bg1"/>
                  </a:solidFill>
                  <a:latin typeface="Calibri" panose="020F0502020204030204" pitchFamily="34" charset="0"/>
                  <a:cs typeface="Calibri" panose="020F0502020204030204" pitchFamily="34" charset="0"/>
                </a:rPr>
                <a:t>Single Payment</a:t>
              </a:r>
            </a:p>
          </p:txBody>
        </p:sp>
        <p:sp>
          <p:nvSpPr>
            <p:cNvPr id="77" name="AutoShape 3">
              <a:extLst>
                <a:ext uri="{FF2B5EF4-FFF2-40B4-BE49-F238E27FC236}">
                  <a16:creationId xmlns:a16="http://schemas.microsoft.com/office/drawing/2014/main" id="{0B51FC12-5E7A-4050-AB84-523C60DF95F3}"/>
                </a:ext>
              </a:extLst>
            </p:cNvPr>
            <p:cNvSpPr>
              <a:spLocks noChangeArrowheads="1"/>
            </p:cNvSpPr>
            <p:nvPr/>
          </p:nvSpPr>
          <p:spPr bwMode="gray">
            <a:xfrm rot="5400000">
              <a:off x="2391132" y="235277"/>
              <a:ext cx="457200" cy="3326593"/>
            </a:xfrm>
            <a:prstGeom prst="homePlate">
              <a:avLst>
                <a:gd name="adj" fmla="val 26949"/>
              </a:avLst>
            </a:prstGeom>
            <a:solidFill>
              <a:schemeClr val="accent2"/>
            </a:solidFill>
            <a:ln w="9525" algn="ctr">
              <a:noFill/>
              <a:miter lim="800000"/>
              <a:headEnd/>
              <a:tailEnd/>
            </a:ln>
            <a:effectLst/>
          </p:spPr>
          <p:txBody>
            <a:bodyPr rot="10800000" vert="eaVert" lIns="91440" tIns="91440" rIns="91440" bIns="91440" anchor="ctr"/>
            <a:lstStyle/>
            <a:p>
              <a:pPr algn="ctr"/>
              <a:r>
                <a:rPr lang="en-US" sz="1412" b="1">
                  <a:solidFill>
                    <a:schemeClr val="bg1"/>
                  </a:solidFill>
                  <a:latin typeface="Calibri" panose="020F0502020204030204" pitchFamily="34" charset="0"/>
                  <a:cs typeface="Calibri" panose="020F0502020204030204" pitchFamily="34" charset="0"/>
                </a:rPr>
                <a:t>Payment Process Request</a:t>
              </a:r>
            </a:p>
          </p:txBody>
        </p:sp>
        <p:pic>
          <p:nvPicPr>
            <p:cNvPr id="78" name="Graphic 77" descr="Call center">
              <a:extLst>
                <a:ext uri="{FF2B5EF4-FFF2-40B4-BE49-F238E27FC236}">
                  <a16:creationId xmlns:a16="http://schemas.microsoft.com/office/drawing/2014/main" id="{31FE1D45-8A3A-430B-A3D6-5E265F7CBAD4}"/>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9636910" y="2202469"/>
              <a:ext cx="384342" cy="387593"/>
            </a:xfrm>
            <a:prstGeom prst="rect">
              <a:avLst/>
            </a:prstGeom>
          </p:spPr>
        </p:pic>
        <p:sp>
          <p:nvSpPr>
            <p:cNvPr id="79" name="TextBox 78">
              <a:extLst>
                <a:ext uri="{FF2B5EF4-FFF2-40B4-BE49-F238E27FC236}">
                  <a16:creationId xmlns:a16="http://schemas.microsoft.com/office/drawing/2014/main" id="{D450F68A-BE0C-44B4-8C3C-06E9D7514C4F}"/>
                </a:ext>
              </a:extLst>
            </p:cNvPr>
            <p:cNvSpPr txBox="1"/>
            <p:nvPr/>
          </p:nvSpPr>
          <p:spPr>
            <a:xfrm>
              <a:off x="5604370" y="2273360"/>
              <a:ext cx="1933895" cy="282384"/>
            </a:xfrm>
            <a:prstGeom prst="rect">
              <a:avLst/>
            </a:prstGeom>
            <a:noFill/>
          </p:spPr>
          <p:txBody>
            <a:bodyPr wrap="square" rtlCol="0">
              <a:spAutoFit/>
            </a:bodyPr>
            <a:lstStyle/>
            <a:p>
              <a:pPr defTabSz="914422">
                <a:defRPr/>
              </a:pPr>
              <a:r>
                <a:rPr lang="en-US" sz="1200" b="1" spc="300">
                  <a:solidFill>
                    <a:srgbClr val="000000"/>
                  </a:solidFill>
                  <a:latin typeface="Calibri" panose="020F0502020204030204" pitchFamily="34" charset="0"/>
                  <a:cs typeface="Calibri" panose="020F0502020204030204" pitchFamily="34" charset="0"/>
                </a:rPr>
                <a:t>QUICK</a:t>
              </a:r>
            </a:p>
          </p:txBody>
        </p:sp>
        <p:sp>
          <p:nvSpPr>
            <p:cNvPr id="80" name="TextBox 79">
              <a:extLst>
                <a:ext uri="{FF2B5EF4-FFF2-40B4-BE49-F238E27FC236}">
                  <a16:creationId xmlns:a16="http://schemas.microsoft.com/office/drawing/2014/main" id="{472FD817-6963-4D61-B4C1-D87CF823EEFE}"/>
                </a:ext>
              </a:extLst>
            </p:cNvPr>
            <p:cNvSpPr txBox="1"/>
            <p:nvPr/>
          </p:nvSpPr>
          <p:spPr>
            <a:xfrm>
              <a:off x="7893546" y="2252467"/>
              <a:ext cx="1230771" cy="282384"/>
            </a:xfrm>
            <a:prstGeom prst="rect">
              <a:avLst/>
            </a:prstGeom>
            <a:noFill/>
          </p:spPr>
          <p:txBody>
            <a:bodyPr wrap="square" rtlCol="0">
              <a:spAutoFit/>
            </a:bodyPr>
            <a:lstStyle/>
            <a:p>
              <a:pPr defTabSz="914422">
                <a:defRPr/>
              </a:pPr>
              <a:r>
                <a:rPr lang="en-US" sz="1200" b="1" spc="300">
                  <a:solidFill>
                    <a:srgbClr val="000000"/>
                  </a:solidFill>
                  <a:latin typeface="Calibri" panose="020F0502020204030204" pitchFamily="34" charset="0"/>
                  <a:cs typeface="Calibri" panose="020F0502020204030204" pitchFamily="34" charset="0"/>
                </a:rPr>
                <a:t>MANUAL</a:t>
              </a:r>
            </a:p>
          </p:txBody>
        </p:sp>
        <p:sp>
          <p:nvSpPr>
            <p:cNvPr id="81" name="TextBox 80">
              <a:extLst>
                <a:ext uri="{FF2B5EF4-FFF2-40B4-BE49-F238E27FC236}">
                  <a16:creationId xmlns:a16="http://schemas.microsoft.com/office/drawing/2014/main" id="{32003C1E-5168-451E-9D09-7F86B88F2DEE}"/>
                </a:ext>
              </a:extLst>
            </p:cNvPr>
            <p:cNvSpPr txBox="1"/>
            <p:nvPr/>
          </p:nvSpPr>
          <p:spPr>
            <a:xfrm>
              <a:off x="4362990" y="2653762"/>
              <a:ext cx="2562250" cy="646331"/>
            </a:xfrm>
            <a:prstGeom prst="rect">
              <a:avLst/>
            </a:prstGeom>
          </p:spPr>
          <p:txBody>
            <a:bodyPr wrap="square">
              <a:spAutoFit/>
            </a:bodyPr>
            <a:lstStyle>
              <a:defPPr>
                <a:defRPr lang="en-US"/>
              </a:defPPr>
              <a:lvl1pPr lvl="0" defTabSz="914400">
                <a:spcAft>
                  <a:spcPts val="1200"/>
                </a:spcAft>
                <a:defRPr sz="1200" i="1">
                  <a:latin typeface="Calibri" panose="020F0502020204030204" pitchFamily="34" charset="0"/>
                  <a:ea typeface="Open Sans" panose="020B0606030504020204" pitchFamily="34" charset="0"/>
                  <a:cs typeface="Calibri" panose="020F0502020204030204" pitchFamily="34" charset="0"/>
                </a:defRPr>
              </a:lvl1pPr>
            </a:lstStyle>
            <a:p>
              <a:pPr marL="0" lvl="1" algn="ctr">
                <a:spcBef>
                  <a:spcPts val="600"/>
                </a:spcBef>
                <a:buSzPct val="100000"/>
              </a:pPr>
              <a:r>
                <a:rPr lang="en-US" sz="1200">
                  <a:latin typeface="Calibri" panose="020F0502020204030204" pitchFamily="34" charset="0"/>
                  <a:cs typeface="Calibri" panose="020F0502020204030204" pitchFamily="34" charset="0"/>
                </a:rPr>
                <a:t>A single payment for one or more invoices that's created without submitting a payment process request</a:t>
              </a:r>
            </a:p>
          </p:txBody>
        </p:sp>
        <p:sp>
          <p:nvSpPr>
            <p:cNvPr id="82" name="TextBox 81">
              <a:extLst>
                <a:ext uri="{FF2B5EF4-FFF2-40B4-BE49-F238E27FC236}">
                  <a16:creationId xmlns:a16="http://schemas.microsoft.com/office/drawing/2014/main" id="{D01EE5C3-C048-41CB-8D67-83E37FE498FA}"/>
                </a:ext>
              </a:extLst>
            </p:cNvPr>
            <p:cNvSpPr txBox="1"/>
            <p:nvPr/>
          </p:nvSpPr>
          <p:spPr>
            <a:xfrm>
              <a:off x="6883061" y="2653762"/>
              <a:ext cx="2487257" cy="646331"/>
            </a:xfrm>
            <a:prstGeom prst="rect">
              <a:avLst/>
            </a:prstGeom>
          </p:spPr>
          <p:txBody>
            <a:bodyPr wrap="square">
              <a:spAutoFit/>
            </a:bodyPr>
            <a:lstStyle>
              <a:defPPr>
                <a:defRPr lang="en-US"/>
              </a:defPPr>
              <a:lvl1pPr lvl="0" defTabSz="914400">
                <a:spcAft>
                  <a:spcPts val="1200"/>
                </a:spcAft>
                <a:defRPr sz="1200" i="1">
                  <a:latin typeface="Calibri" panose="020F0502020204030204" pitchFamily="34" charset="0"/>
                  <a:ea typeface="Open Sans" panose="020B0606030504020204" pitchFamily="34" charset="0"/>
                  <a:cs typeface="Calibri" panose="020F0502020204030204" pitchFamily="34" charset="0"/>
                </a:defRPr>
              </a:lvl1pPr>
            </a:lstStyle>
            <a:p>
              <a:pPr marL="0" lvl="1" algn="ctr">
                <a:spcBef>
                  <a:spcPts val="600"/>
                </a:spcBef>
                <a:buSzPct val="100000"/>
              </a:pPr>
              <a:r>
                <a:rPr lang="en-US" sz="1200">
                  <a:latin typeface="Calibri" panose="020F0502020204030204" pitchFamily="34" charset="0"/>
                  <a:cs typeface="Calibri" panose="020F0502020204030204" pitchFamily="34" charset="0"/>
                </a:rPr>
                <a:t>A payment created outside of Payables and then recorded in Payables</a:t>
              </a:r>
            </a:p>
          </p:txBody>
        </p:sp>
        <p:pic>
          <p:nvPicPr>
            <p:cNvPr id="83" name="Graphic 82" descr="Document">
              <a:extLst>
                <a:ext uri="{FF2B5EF4-FFF2-40B4-BE49-F238E27FC236}">
                  <a16:creationId xmlns:a16="http://schemas.microsoft.com/office/drawing/2014/main" id="{FEA585B9-CA42-4286-B4C9-C971B181FBB4}"/>
                </a:ext>
              </a:extLst>
            </p:cNvPr>
            <p:cNvPicPr>
              <a:picLocks/>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6690" y="2202762"/>
              <a:ext cx="421096" cy="406184"/>
            </a:xfrm>
            <a:prstGeom prst="rect">
              <a:avLst/>
            </a:prstGeom>
          </p:spPr>
        </p:pic>
        <p:pic>
          <p:nvPicPr>
            <p:cNvPr id="84" name="Graphic 83" descr="Blackboard">
              <a:extLst>
                <a:ext uri="{FF2B5EF4-FFF2-40B4-BE49-F238E27FC236}">
                  <a16:creationId xmlns:a16="http://schemas.microsoft.com/office/drawing/2014/main" id="{5B1A1154-9618-4F1E-AA8F-F1FBA9906C1F}"/>
                </a:ext>
              </a:extLst>
            </p:cNvPr>
            <p:cNvPicPr>
              <a:picLocks/>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42263" y="2162364"/>
              <a:ext cx="457200" cy="457200"/>
            </a:xfrm>
            <a:prstGeom prst="rect">
              <a:avLst/>
            </a:prstGeom>
          </p:spPr>
        </p:pic>
        <p:pic>
          <p:nvPicPr>
            <p:cNvPr id="85" name="Graphic 84" descr="Checklist RTL">
              <a:extLst>
                <a:ext uri="{FF2B5EF4-FFF2-40B4-BE49-F238E27FC236}">
                  <a16:creationId xmlns:a16="http://schemas.microsoft.com/office/drawing/2014/main" id="{7806CEAE-EC38-450C-94C2-A13B8652A506}"/>
                </a:ext>
              </a:extLst>
            </p:cNvPr>
            <p:cNvPicPr>
              <a:picLocks/>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8307" y="2182856"/>
              <a:ext cx="457200" cy="457200"/>
            </a:xfrm>
            <a:prstGeom prst="rect">
              <a:avLst/>
            </a:prstGeom>
          </p:spPr>
        </p:pic>
        <p:sp>
          <p:nvSpPr>
            <p:cNvPr id="86" name="TextBox 85">
              <a:extLst>
                <a:ext uri="{FF2B5EF4-FFF2-40B4-BE49-F238E27FC236}">
                  <a16:creationId xmlns:a16="http://schemas.microsoft.com/office/drawing/2014/main" id="{6D9451C7-4FF8-426F-9932-8A0DB34D5F3D}"/>
                </a:ext>
              </a:extLst>
            </p:cNvPr>
            <p:cNvSpPr txBox="1"/>
            <p:nvPr/>
          </p:nvSpPr>
          <p:spPr>
            <a:xfrm>
              <a:off x="1377338" y="2272958"/>
              <a:ext cx="3326592" cy="276999"/>
            </a:xfrm>
            <a:prstGeom prst="rect">
              <a:avLst/>
            </a:prstGeom>
            <a:noFill/>
          </p:spPr>
          <p:txBody>
            <a:bodyPr wrap="square" rtlCol="0">
              <a:spAutoFit/>
            </a:bodyPr>
            <a:lstStyle/>
            <a:p>
              <a:pPr defTabSz="914422">
                <a:defRPr/>
              </a:pPr>
              <a:r>
                <a:rPr lang="en-US" sz="1200" b="1" spc="300">
                  <a:solidFill>
                    <a:srgbClr val="000000"/>
                  </a:solidFill>
                  <a:latin typeface="Calibri" panose="020F0502020204030204" pitchFamily="34" charset="0"/>
                  <a:cs typeface="Calibri" panose="020F0502020204030204" pitchFamily="34" charset="0"/>
                </a:rPr>
                <a:t>PAYMENT PROCESS REQUESTS</a:t>
              </a:r>
            </a:p>
          </p:txBody>
        </p:sp>
        <p:sp>
          <p:nvSpPr>
            <p:cNvPr id="87" name="TextBox 86">
              <a:extLst>
                <a:ext uri="{FF2B5EF4-FFF2-40B4-BE49-F238E27FC236}">
                  <a16:creationId xmlns:a16="http://schemas.microsoft.com/office/drawing/2014/main" id="{F74332F6-55D6-4010-A9C4-7D8EB893BD30}"/>
                </a:ext>
              </a:extLst>
            </p:cNvPr>
            <p:cNvSpPr txBox="1"/>
            <p:nvPr/>
          </p:nvSpPr>
          <p:spPr>
            <a:xfrm>
              <a:off x="868307" y="2655230"/>
              <a:ext cx="3454562" cy="646331"/>
            </a:xfrm>
            <a:prstGeom prst="rect">
              <a:avLst/>
            </a:prstGeom>
          </p:spPr>
          <p:txBody>
            <a:bodyPr wrap="square">
              <a:spAutoFit/>
            </a:bodyPr>
            <a:lstStyle>
              <a:defPPr>
                <a:defRPr lang="en-US"/>
              </a:defPPr>
              <a:lvl1pPr lvl="0" defTabSz="914400">
                <a:spcAft>
                  <a:spcPts val="1200"/>
                </a:spcAft>
                <a:defRPr sz="1200" i="1">
                  <a:latin typeface="Calibri" panose="020F0502020204030204" pitchFamily="34" charset="0"/>
                  <a:ea typeface="Open Sans" panose="020B0606030504020204" pitchFamily="34" charset="0"/>
                  <a:cs typeface="Calibri" panose="020F0502020204030204" pitchFamily="34" charset="0"/>
                </a:defRPr>
              </a:lvl1pPr>
            </a:lstStyle>
            <a:p>
              <a:pPr marL="0" lvl="1" algn="ctr">
                <a:spcBef>
                  <a:spcPts val="600"/>
                </a:spcBef>
                <a:buSzPct val="100000"/>
              </a:pPr>
              <a:r>
                <a:rPr lang="en-US" sz="1200">
                  <a:latin typeface="Calibri" panose="020F0502020204030204" pitchFamily="34" charset="0"/>
                  <a:cs typeface="Calibri" panose="020F0502020204030204" pitchFamily="34" charset="0"/>
                </a:rPr>
                <a:t>Payments across multiple suppliers created by utilizing a selection criteria and automated processing functions. </a:t>
              </a:r>
            </a:p>
          </p:txBody>
        </p:sp>
        <p:sp>
          <p:nvSpPr>
            <p:cNvPr id="100" name="TextBox 99">
              <a:extLst>
                <a:ext uri="{FF2B5EF4-FFF2-40B4-BE49-F238E27FC236}">
                  <a16:creationId xmlns:a16="http://schemas.microsoft.com/office/drawing/2014/main" id="{D6384C96-4157-4733-8F6B-D566CEEE5125}"/>
                </a:ext>
              </a:extLst>
            </p:cNvPr>
            <p:cNvSpPr txBox="1"/>
            <p:nvPr/>
          </p:nvSpPr>
          <p:spPr>
            <a:xfrm>
              <a:off x="10051905" y="2267419"/>
              <a:ext cx="1636587" cy="282385"/>
            </a:xfrm>
            <a:prstGeom prst="rect">
              <a:avLst/>
            </a:prstGeom>
            <a:noFill/>
          </p:spPr>
          <p:txBody>
            <a:bodyPr wrap="square" rtlCol="0">
              <a:spAutoFit/>
            </a:bodyPr>
            <a:lstStyle/>
            <a:p>
              <a:pPr defTabSz="914422">
                <a:defRPr/>
              </a:pPr>
              <a:r>
                <a:rPr lang="en-US" sz="1200" b="1" spc="300">
                  <a:solidFill>
                    <a:srgbClr val="000000"/>
                  </a:solidFill>
                  <a:latin typeface="Calibri" panose="020F0502020204030204" pitchFamily="34" charset="0"/>
                  <a:cs typeface="Calibri" panose="020F0502020204030204" pitchFamily="34" charset="0"/>
                </a:rPr>
                <a:t>REFUND</a:t>
              </a:r>
            </a:p>
          </p:txBody>
        </p:sp>
        <p:sp>
          <p:nvSpPr>
            <p:cNvPr id="101" name="TextBox 100">
              <a:extLst>
                <a:ext uri="{FF2B5EF4-FFF2-40B4-BE49-F238E27FC236}">
                  <a16:creationId xmlns:a16="http://schemas.microsoft.com/office/drawing/2014/main" id="{E8FEF5DD-58B4-40FA-A8EC-A8623DAAAE16}"/>
                </a:ext>
              </a:extLst>
            </p:cNvPr>
            <p:cNvSpPr txBox="1"/>
            <p:nvPr/>
          </p:nvSpPr>
          <p:spPr>
            <a:xfrm>
              <a:off x="9143434" y="2641463"/>
              <a:ext cx="2194560" cy="646331"/>
            </a:xfrm>
            <a:prstGeom prst="rect">
              <a:avLst/>
            </a:prstGeom>
          </p:spPr>
          <p:txBody>
            <a:bodyPr wrap="square" lIns="91440" tIns="45720" rIns="91440" bIns="45720" anchor="t">
              <a:spAutoFit/>
            </a:bodyPr>
            <a:lstStyle>
              <a:defPPr>
                <a:defRPr lang="en-US"/>
              </a:defPPr>
              <a:lvl1pPr lvl="0" defTabSz="914400">
                <a:spcAft>
                  <a:spcPts val="1200"/>
                </a:spcAft>
                <a:defRPr sz="1200" i="1">
                  <a:latin typeface="Calibri" panose="020F0502020204030204" pitchFamily="34" charset="0"/>
                  <a:ea typeface="Open Sans" panose="020B0606030504020204" pitchFamily="34" charset="0"/>
                  <a:cs typeface="Calibri" panose="020F0502020204030204" pitchFamily="34" charset="0"/>
                </a:defRPr>
              </a:lvl1pPr>
            </a:lstStyle>
            <a:p>
              <a:pPr marL="0" lvl="1" algn="ctr">
                <a:spcBef>
                  <a:spcPts val="600"/>
                </a:spcBef>
                <a:buSzPct val="100000"/>
              </a:pPr>
              <a:r>
                <a:rPr lang="en-US" sz="1200">
                  <a:latin typeface="Calibri"/>
                  <a:cs typeface="Calibri"/>
                </a:rPr>
                <a:t>A payment for a customer that closes an outstanding credit balance</a:t>
              </a:r>
            </a:p>
          </p:txBody>
        </p:sp>
      </p:grpSp>
    </p:spTree>
    <p:extLst>
      <p:ext uri="{BB962C8B-B14F-4D97-AF65-F5344CB8AC3E}">
        <p14:creationId xmlns:p14="http://schemas.microsoft.com/office/powerpoint/2010/main" val="33430911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478028510"/>
              </p:ext>
            </p:extLst>
          </p:nvPr>
        </p:nvGraphicFramePr>
        <p:xfrm>
          <a:off x="655837" y="2257599"/>
          <a:ext cx="8183132" cy="3180432"/>
        </p:xfrm>
        <a:graphic>
          <a:graphicData uri="http://schemas.openxmlformats.org/drawingml/2006/table">
            <a:tbl>
              <a:tblPr firstRow="1" bandRow="1">
                <a:tableStyleId>{5C22544A-7EE6-4342-B048-85BDC9FD1C3A}</a:tableStyleId>
              </a:tblPr>
              <a:tblGrid>
                <a:gridCol w="3273252">
                  <a:extLst>
                    <a:ext uri="{9D8B030D-6E8A-4147-A177-3AD203B41FA5}">
                      <a16:colId xmlns:a16="http://schemas.microsoft.com/office/drawing/2014/main" val="20000"/>
                    </a:ext>
                  </a:extLst>
                </a:gridCol>
                <a:gridCol w="4909880">
                  <a:extLst>
                    <a:ext uri="{9D8B030D-6E8A-4147-A177-3AD203B41FA5}">
                      <a16:colId xmlns:a16="http://schemas.microsoft.com/office/drawing/2014/main" val="20001"/>
                    </a:ext>
                  </a:extLst>
                </a:gridCol>
              </a:tblGrid>
              <a:tr h="315682">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400" b="1" u="none" strike="noStrike" kern="1200" cap="none" normalizeH="0" baseline="0">
                          <a:ln>
                            <a:noFill/>
                          </a:ln>
                          <a:solidFill>
                            <a:schemeClr val="tx1"/>
                          </a:solidFill>
                          <a:effectLst/>
                          <a:latin typeface="+mn-lt"/>
                          <a:ea typeface="+mn-ea"/>
                          <a:cs typeface="+mn-cs"/>
                        </a:rPr>
                        <a:t>Payment methods</a:t>
                      </a: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a:ln>
                            <a:noFill/>
                          </a:ln>
                          <a:solidFill>
                            <a:schemeClr val="tx1"/>
                          </a:solidFill>
                          <a:effectLst/>
                          <a:latin typeface="+mn-lt"/>
                        </a:rPr>
                        <a:t>Description</a:t>
                      </a:r>
                      <a:endParaRPr kumimoji="0" lang="en-US" sz="1400" b="1" i="0" u="none" strike="noStrike" cap="none" normalizeH="0" baseline="0">
                        <a:ln>
                          <a:noFill/>
                        </a:ln>
                        <a:solidFill>
                          <a:schemeClr val="tx1"/>
                        </a:solidFill>
                        <a:effectLst/>
                        <a:latin typeface="+mn-lt"/>
                      </a:endParaRP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67954">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kern="1200">
                          <a:solidFill>
                            <a:schemeClr val="dk1"/>
                          </a:solidFill>
                          <a:latin typeface="+mn-lt"/>
                          <a:ea typeface="+mn-ea"/>
                          <a:cs typeface="+mn-cs"/>
                        </a:rPr>
                        <a:t>Record Manual Payment</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t>For payments made outside of Payables, for example, using a  typed check or wire transfer, within Payables the payment can be recorded and updated in the invoices paid. </a:t>
                      </a:r>
                    </a:p>
                    <a:p>
                      <a:r>
                        <a:rPr lang="en-US" sz="1200"/>
                        <a:t>Also use this method to pay invoices with the Clearing payment method. </a:t>
                      </a:r>
                    </a:p>
                    <a:p>
                      <a:r>
                        <a:rPr lang="en-US" sz="1200"/>
                        <a:t>With a manual payment, you can override some payment controls of Payables.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en-US" sz="1200" kern="1200">
                        <a:solidFill>
                          <a:schemeClr val="dk1"/>
                        </a:solidFill>
                        <a:latin typeface="+mn-lt"/>
                        <a:ea typeface="+mn-ea"/>
                        <a:cs typeface="+mn-cs"/>
                      </a:endParaRP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94432">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a:t>Electronic Fund Transfer/EFT</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en-US" sz="1200"/>
                        <a:t>A direct transfer of money from one account to another, such as electronic payment of an amount owed a supplier by transferring money from payer’s disbursement bank account into the supplier’s bank account.</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en-US" sz="1200" kern="1200">
                        <a:solidFill>
                          <a:schemeClr val="dk1"/>
                        </a:solidFill>
                        <a:latin typeface="+mn-lt"/>
                        <a:ea typeface="+mn-ea"/>
                        <a:cs typeface="+mn-cs"/>
                      </a:endParaRP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2368473"/>
                  </a:ext>
                </a:extLst>
              </a:tr>
              <a:tr h="467249">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kern="1200">
                          <a:solidFill>
                            <a:schemeClr val="dk1"/>
                          </a:solidFill>
                          <a:latin typeface="+mn-lt"/>
                          <a:ea typeface="+mn-ea"/>
                          <a:cs typeface="+mn-cs"/>
                        </a:rPr>
                        <a:t>Checks</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en-US" sz="1200"/>
                        <a:t>To pay your suppliers, you can make payments by printing checks.</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en-US" sz="1200" kern="1200">
                        <a:solidFill>
                          <a:schemeClr val="dk1"/>
                        </a:solidFill>
                        <a:latin typeface="+mn-lt"/>
                        <a:ea typeface="+mn-ea"/>
                        <a:cs typeface="+mn-cs"/>
                      </a:endParaRP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7735585"/>
                  </a:ext>
                </a:extLst>
              </a:tr>
            </a:tbl>
          </a:graphicData>
        </a:graphic>
      </p:graphicFrame>
      <p:sp>
        <p:nvSpPr>
          <p:cNvPr id="5" name="Text Placeholder 12">
            <a:extLst>
              <a:ext uri="{FF2B5EF4-FFF2-40B4-BE49-F238E27FC236}">
                <a16:creationId xmlns:a16="http://schemas.microsoft.com/office/drawing/2014/main" id="{3C25657C-19D4-4B93-B96C-DACEDD67D364}"/>
              </a:ext>
            </a:extLst>
          </p:cNvPr>
          <p:cNvSpPr txBox="1">
            <a:spLocks/>
          </p:cNvSpPr>
          <p:nvPr/>
        </p:nvSpPr>
        <p:spPr>
          <a:xfrm>
            <a:off x="488893" y="745703"/>
            <a:ext cx="11188700" cy="1511896"/>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cs typeface="Calibri Light"/>
              </a:rPr>
              <a:t>Payment method is a way through which customers pay for invoice of product or service received from suppliers.</a:t>
            </a:r>
          </a:p>
          <a:p>
            <a:r>
              <a:rPr lang="en-US" sz="1400" i="0">
                <a:solidFill>
                  <a:schemeClr val="tx1"/>
                </a:solidFill>
                <a:effectLst/>
              </a:rPr>
              <a:t>The payment method can be electronic, such as </a:t>
            </a:r>
            <a:r>
              <a:rPr lang="en-US" sz="1400">
                <a:solidFill>
                  <a:schemeClr val="tx1"/>
                </a:solidFill>
              </a:rPr>
              <a:t>EFT </a:t>
            </a:r>
            <a:r>
              <a:rPr lang="en-US" sz="1400" i="0">
                <a:solidFill>
                  <a:schemeClr val="tx1"/>
                </a:solidFill>
                <a:effectLst/>
              </a:rPr>
              <a:t>or wire, or printed, such as a check. You can use a payment method to pay one or multiple third-party </a:t>
            </a:r>
            <a:r>
              <a:rPr lang="en-US" sz="1400">
                <a:solidFill>
                  <a:schemeClr val="tx1"/>
                </a:solidFill>
              </a:rPr>
              <a:t>payees.</a:t>
            </a:r>
            <a:br>
              <a:rPr lang="en-US" sz="1400">
                <a:solidFill>
                  <a:schemeClr val="tx1"/>
                </a:solidFill>
              </a:rPr>
            </a:br>
            <a:br>
              <a:rPr lang="en-US" sz="1400">
                <a:solidFill>
                  <a:schemeClr val="tx1"/>
                </a:solidFill>
              </a:rPr>
            </a:br>
            <a:r>
              <a:rPr lang="en-US" sz="1400">
                <a:solidFill>
                  <a:srgbClr val="000000"/>
                </a:solidFill>
              </a:rPr>
              <a:t>Oracle Cloud Payments supports several payment methods including</a:t>
            </a:r>
            <a:r>
              <a:rPr lang="en-US">
                <a:solidFill>
                  <a:srgbClr val="000000"/>
                </a:solidFill>
              </a:rPr>
              <a:t>:</a:t>
            </a:r>
          </a:p>
          <a:p>
            <a:r>
              <a:rPr lang="en-US"/>
              <a:t> </a:t>
            </a:r>
          </a:p>
          <a:p>
            <a:endParaRPr lang="en-US"/>
          </a:p>
          <a:p>
            <a:endParaRPr lang="en-US">
              <a:cs typeface="Calibri Light"/>
            </a:endParaRPr>
          </a:p>
          <a:p>
            <a:endParaRPr lang="en-US">
              <a:cs typeface="Calibri Light"/>
            </a:endParaRPr>
          </a:p>
          <a:p>
            <a:endParaRPr lang="en-US">
              <a:cs typeface="Calibri Light"/>
            </a:endParaRPr>
          </a:p>
        </p:txBody>
      </p:sp>
      <p:sp>
        <p:nvSpPr>
          <p:cNvPr id="6" name="Title 9">
            <a:extLst>
              <a:ext uri="{FF2B5EF4-FFF2-40B4-BE49-F238E27FC236}">
                <a16:creationId xmlns:a16="http://schemas.microsoft.com/office/drawing/2014/main" id="{8EFD8275-551B-4DF5-A435-C98C676C2BE1}"/>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Manage Payments – Payment methods</a:t>
            </a:r>
          </a:p>
        </p:txBody>
      </p:sp>
      <p:sp>
        <p:nvSpPr>
          <p:cNvPr id="7" name="TextBox 6">
            <a:extLst>
              <a:ext uri="{FF2B5EF4-FFF2-40B4-BE49-F238E27FC236}">
                <a16:creationId xmlns:a16="http://schemas.microsoft.com/office/drawing/2014/main" id="{46F0DDBF-5614-42E0-94CE-E10923199E8C}"/>
              </a:ext>
            </a:extLst>
          </p:cNvPr>
          <p:cNvSpPr txBox="1"/>
          <p:nvPr/>
        </p:nvSpPr>
        <p:spPr>
          <a:xfrm>
            <a:off x="655837" y="5433457"/>
            <a:ext cx="8558925" cy="446276"/>
          </a:xfrm>
          <a:prstGeom prst="rect">
            <a:avLst/>
          </a:prstGeom>
          <a:noFill/>
        </p:spPr>
        <p:txBody>
          <a:bodyPr wrap="square" lIns="0" tIns="0" rIns="0" bIns="0" rtlCol="0" anchor="t">
            <a:spAutoFit/>
          </a:bodyPr>
          <a:lstStyle/>
          <a:p>
            <a:pPr>
              <a:spcBef>
                <a:spcPts val="600"/>
              </a:spcBef>
              <a:buSzPct val="100000"/>
            </a:pPr>
            <a:endParaRPr lang="en-US" sz="1200" b="1">
              <a:solidFill>
                <a:srgbClr val="92D050"/>
              </a:solidFill>
              <a:cs typeface="Calibri"/>
            </a:endParaRPr>
          </a:p>
          <a:p>
            <a:pPr marL="285750" indent="-285750" algn="just">
              <a:spcBef>
                <a:spcPts val="600"/>
              </a:spcBef>
              <a:buSzPct val="100000"/>
              <a:buFont typeface="Arial" panose="020B0604020202020204" pitchFamily="34" charset="0"/>
              <a:buChar char="•"/>
            </a:pPr>
            <a:endParaRPr lang="en-US" sz="1200">
              <a:solidFill>
                <a:srgbClr val="313131"/>
              </a:solidFill>
              <a:cs typeface="Calibri"/>
            </a:endParaRPr>
          </a:p>
        </p:txBody>
      </p:sp>
      <p:grpSp>
        <p:nvGrpSpPr>
          <p:cNvPr id="12" name="Group 11">
            <a:extLst>
              <a:ext uri="{FF2B5EF4-FFF2-40B4-BE49-F238E27FC236}">
                <a16:creationId xmlns:a16="http://schemas.microsoft.com/office/drawing/2014/main" id="{A1D28DC1-DD57-4DC8-A745-3A7791C6353C}"/>
              </a:ext>
            </a:extLst>
          </p:cNvPr>
          <p:cNvGrpSpPr/>
          <p:nvPr/>
        </p:nvGrpSpPr>
        <p:grpSpPr>
          <a:xfrm>
            <a:off x="9425670" y="2658994"/>
            <a:ext cx="2001747" cy="1690729"/>
            <a:chOff x="9534416" y="3911341"/>
            <a:chExt cx="2001747" cy="2136917"/>
          </a:xfrm>
        </p:grpSpPr>
        <p:sp>
          <p:nvSpPr>
            <p:cNvPr id="4" name="Rectangle 3">
              <a:extLst>
                <a:ext uri="{FF2B5EF4-FFF2-40B4-BE49-F238E27FC236}">
                  <a16:creationId xmlns:a16="http://schemas.microsoft.com/office/drawing/2014/main" id="{7FDDA687-E645-EC1C-10EA-1785F7FFDF9D}"/>
                </a:ext>
              </a:extLst>
            </p:cNvPr>
            <p:cNvSpPr/>
            <p:nvPr/>
          </p:nvSpPr>
          <p:spPr bwMode="gray">
            <a:xfrm>
              <a:off x="9534416" y="4024899"/>
              <a:ext cx="2001747" cy="2023359"/>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200" b="1">
                <a:solidFill>
                  <a:srgbClr val="000000"/>
                </a:solidFill>
                <a:cs typeface="Calibri"/>
              </a:endParaRPr>
            </a:p>
            <a:p>
              <a:pPr>
                <a:lnSpc>
                  <a:spcPct val="106000"/>
                </a:lnSpc>
              </a:pPr>
              <a:r>
                <a:rPr lang="en-US" sz="1050">
                  <a:solidFill>
                    <a:srgbClr val="000000"/>
                  </a:solidFill>
                  <a:cs typeface="Calibri"/>
                </a:rPr>
                <a:t>1. Payment methods</a:t>
              </a:r>
              <a:endParaRPr lang="en-US" sz="1050"/>
            </a:p>
            <a:p>
              <a:pPr>
                <a:lnSpc>
                  <a:spcPct val="106000"/>
                </a:lnSpc>
              </a:pPr>
              <a:r>
                <a:rPr lang="en-US" sz="1050">
                  <a:solidFill>
                    <a:srgbClr val="000000"/>
                  </a:solidFill>
                  <a:cs typeface="Calibri"/>
                </a:rPr>
                <a:t>2. Integration with banks for supplier payment.</a:t>
              </a:r>
            </a:p>
            <a:p>
              <a:pPr>
                <a:lnSpc>
                  <a:spcPct val="106000"/>
                </a:lnSpc>
              </a:pPr>
              <a:r>
                <a:rPr lang="en-US" sz="1050">
                  <a:solidFill>
                    <a:srgbClr val="000000"/>
                  </a:solidFill>
                  <a:cs typeface="Calibri"/>
                </a:rPr>
                <a:t>3. Process of Payment approvals.</a:t>
              </a:r>
            </a:p>
            <a:p>
              <a:pPr>
                <a:lnSpc>
                  <a:spcPct val="106000"/>
                </a:lnSpc>
              </a:pPr>
              <a:endParaRPr lang="en-US" sz="1050">
                <a:solidFill>
                  <a:srgbClr val="000000"/>
                </a:solidFill>
                <a:cs typeface="Calibri"/>
              </a:endParaRPr>
            </a:p>
            <a:p>
              <a:pPr>
                <a:lnSpc>
                  <a:spcPct val="106000"/>
                </a:lnSpc>
              </a:pPr>
              <a:endParaRPr lang="en-US" sz="1050" b="1">
                <a:solidFill>
                  <a:srgbClr val="000000"/>
                </a:solidFill>
                <a:cs typeface="Calibri"/>
              </a:endParaRPr>
            </a:p>
          </p:txBody>
        </p:sp>
        <p:sp>
          <p:nvSpPr>
            <p:cNvPr id="8" name="Rectangle 7">
              <a:extLst>
                <a:ext uri="{FF2B5EF4-FFF2-40B4-BE49-F238E27FC236}">
                  <a16:creationId xmlns:a16="http://schemas.microsoft.com/office/drawing/2014/main" id="{999EAD73-08BA-0FBB-1276-BB674D117168}"/>
                </a:ext>
              </a:extLst>
            </p:cNvPr>
            <p:cNvSpPr/>
            <p:nvPr/>
          </p:nvSpPr>
          <p:spPr bwMode="gray">
            <a:xfrm>
              <a:off x="9718493" y="3911341"/>
              <a:ext cx="1633589" cy="26563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Key Design Decision</a:t>
              </a:r>
              <a:endParaRPr lang="en-US" sz="1050">
                <a:solidFill>
                  <a:schemeClr val="bg1"/>
                </a:solidFill>
              </a:endParaRPr>
            </a:p>
          </p:txBody>
        </p:sp>
      </p:grpSp>
    </p:spTree>
    <p:extLst>
      <p:ext uri="{BB962C8B-B14F-4D97-AF65-F5344CB8AC3E}">
        <p14:creationId xmlns:p14="http://schemas.microsoft.com/office/powerpoint/2010/main" val="126779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72D0A68-154A-4DD3-B78F-0372FBAB1DE0}"/>
              </a:ext>
            </a:extLst>
          </p:cNvPr>
          <p:cNvSpPr txBox="1"/>
          <p:nvPr/>
        </p:nvSpPr>
        <p:spPr>
          <a:xfrm>
            <a:off x="526259" y="1684265"/>
            <a:ext cx="11252200" cy="400110"/>
          </a:xfrm>
          <a:prstGeom prst="rect">
            <a:avLst/>
          </a:prstGeom>
          <a:noFill/>
        </p:spPr>
        <p:txBody>
          <a:bodyPr wrap="square" lIns="0" tIns="0" rIns="0" bIns="0" rtlCol="0" anchor="t">
            <a:spAutoFit/>
          </a:bodyPr>
          <a:lstStyle/>
          <a:p>
            <a:pPr marL="285750" indent="-285750">
              <a:spcBef>
                <a:spcPts val="600"/>
              </a:spcBef>
              <a:buSzPct val="100000"/>
              <a:buFont typeface="Arial" panose="020B0604020202020204" pitchFamily="34" charset="0"/>
              <a:buChar char="•"/>
            </a:pPr>
            <a:endParaRPr lang="en-US" sz="1400">
              <a:solidFill>
                <a:srgbClr val="313131"/>
              </a:solidFill>
              <a:cs typeface="Calibri"/>
            </a:endParaRPr>
          </a:p>
          <a:p>
            <a:pPr marL="171450" indent="-171450">
              <a:buFont typeface="Arial" panose="020B0604020202020204" pitchFamily="34" charset="0"/>
              <a:buChar char="•"/>
            </a:pPr>
            <a:endParaRPr lang="en-US" sz="1200">
              <a:solidFill>
                <a:srgbClr val="313131"/>
              </a:solidFill>
            </a:endParaRPr>
          </a:p>
        </p:txBody>
      </p:sp>
      <p:sp>
        <p:nvSpPr>
          <p:cNvPr id="5" name="Text Placeholder 12">
            <a:extLst>
              <a:ext uri="{FF2B5EF4-FFF2-40B4-BE49-F238E27FC236}">
                <a16:creationId xmlns:a16="http://schemas.microsoft.com/office/drawing/2014/main" id="{47C6644F-EC13-42DD-AEE3-51928206F087}"/>
              </a:ext>
            </a:extLst>
          </p:cNvPr>
          <p:cNvSpPr txBox="1">
            <a:spLocks/>
          </p:cNvSpPr>
          <p:nvPr/>
        </p:nvSpPr>
        <p:spPr>
          <a:xfrm>
            <a:off x="558009" y="92701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a:p>
        </p:txBody>
      </p:sp>
      <p:sp>
        <p:nvSpPr>
          <p:cNvPr id="36" name="Title 3">
            <a:extLst>
              <a:ext uri="{FF2B5EF4-FFF2-40B4-BE49-F238E27FC236}">
                <a16:creationId xmlns:a16="http://schemas.microsoft.com/office/drawing/2014/main" id="{3201C2AD-A73C-4875-85AB-65F148EA4244}"/>
              </a:ext>
            </a:extLst>
          </p:cNvPr>
          <p:cNvSpPr txBox="1">
            <a:spLocks/>
          </p:cNvSpPr>
          <p:nvPr/>
        </p:nvSpPr>
        <p:spPr bwMode="gray">
          <a:xfrm>
            <a:off x="469900" y="347273"/>
            <a:ext cx="11252200" cy="53158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endParaRPr lang="en-US" altLang="en-US">
              <a:latin typeface="+mn-lt"/>
            </a:endParaRPr>
          </a:p>
        </p:txBody>
      </p:sp>
      <p:sp>
        <p:nvSpPr>
          <p:cNvPr id="33" name="Title 3">
            <a:extLst>
              <a:ext uri="{FF2B5EF4-FFF2-40B4-BE49-F238E27FC236}">
                <a16:creationId xmlns:a16="http://schemas.microsoft.com/office/drawing/2014/main" id="{FA2C2F50-D5CC-400F-A4E3-478C4D2AED37}"/>
              </a:ext>
            </a:extLst>
          </p:cNvPr>
          <p:cNvSpPr txBox="1">
            <a:spLocks/>
          </p:cNvSpPr>
          <p:nvPr/>
        </p:nvSpPr>
        <p:spPr bwMode="gray">
          <a:xfrm>
            <a:off x="501650" y="447269"/>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US" sz="3000" b="1">
                <a:cs typeface="Calibri Light"/>
              </a:rPr>
              <a:t>Payments: Key Terminology</a:t>
            </a:r>
          </a:p>
        </p:txBody>
      </p:sp>
      <p:sp>
        <p:nvSpPr>
          <p:cNvPr id="34" name="Text Placeholder 12">
            <a:extLst>
              <a:ext uri="{FF2B5EF4-FFF2-40B4-BE49-F238E27FC236}">
                <a16:creationId xmlns:a16="http://schemas.microsoft.com/office/drawing/2014/main" id="{4157B8F8-01E9-48EF-9D74-1213712BB293}"/>
              </a:ext>
            </a:extLst>
          </p:cNvPr>
          <p:cNvSpPr txBox="1">
            <a:spLocks/>
          </p:cNvSpPr>
          <p:nvPr/>
        </p:nvSpPr>
        <p:spPr>
          <a:xfrm>
            <a:off x="558009" y="924575"/>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Key Terms for Oracle Payments are as below:</a:t>
            </a:r>
          </a:p>
        </p:txBody>
      </p:sp>
      <p:graphicFrame>
        <p:nvGraphicFramePr>
          <p:cNvPr id="31" name="Content Placeholder 6">
            <a:extLst>
              <a:ext uri="{FF2B5EF4-FFF2-40B4-BE49-F238E27FC236}">
                <a16:creationId xmlns:a16="http://schemas.microsoft.com/office/drawing/2014/main" id="{86D29932-240A-4696-A6BC-848BC6CFD33E}"/>
              </a:ext>
            </a:extLst>
          </p:cNvPr>
          <p:cNvGraphicFramePr>
            <a:graphicFrameLocks/>
          </p:cNvGraphicFramePr>
          <p:nvPr>
            <p:extLst>
              <p:ext uri="{D42A27DB-BD31-4B8C-83A1-F6EECF244321}">
                <p14:modId xmlns:p14="http://schemas.microsoft.com/office/powerpoint/2010/main" val="3594738212"/>
              </p:ext>
            </p:extLst>
          </p:nvPr>
        </p:nvGraphicFramePr>
        <p:xfrm>
          <a:off x="905520" y="1409145"/>
          <a:ext cx="10380959" cy="4218238"/>
        </p:xfrm>
        <a:graphic>
          <a:graphicData uri="http://schemas.openxmlformats.org/drawingml/2006/table">
            <a:tbl>
              <a:tblPr firstRow="1" bandRow="1">
                <a:tableStyleId>{5C22544A-7EE6-4342-B048-85BDC9FD1C3A}</a:tableStyleId>
              </a:tblPr>
              <a:tblGrid>
                <a:gridCol w="2072455">
                  <a:extLst>
                    <a:ext uri="{9D8B030D-6E8A-4147-A177-3AD203B41FA5}">
                      <a16:colId xmlns:a16="http://schemas.microsoft.com/office/drawing/2014/main" val="20000"/>
                    </a:ext>
                  </a:extLst>
                </a:gridCol>
                <a:gridCol w="8308504">
                  <a:extLst>
                    <a:ext uri="{9D8B030D-6E8A-4147-A177-3AD203B41FA5}">
                      <a16:colId xmlns:a16="http://schemas.microsoft.com/office/drawing/2014/main" val="20002"/>
                    </a:ext>
                  </a:extLst>
                </a:gridCol>
              </a:tblGrid>
              <a:tr h="339632">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kumimoji="0" lang="en-US" sz="1400" b="1" i="0" u="none" strike="noStrike" cap="none" normalizeH="0" baseline="0">
                          <a:ln>
                            <a:noFill/>
                          </a:ln>
                          <a:solidFill>
                            <a:schemeClr val="tx1"/>
                          </a:solidFill>
                          <a:effectLst/>
                          <a:latin typeface="+mn-lt"/>
                        </a:rPr>
                        <a:t>Payment </a:t>
                      </a:r>
                      <a:r>
                        <a:rPr lang="en-US" sz="1400" b="1" i="0" u="none" strike="noStrike" cap="none" normalizeH="0" baseline="0">
                          <a:ln>
                            <a:noFill/>
                          </a:ln>
                          <a:solidFill>
                            <a:schemeClr val="tx1"/>
                          </a:solidFill>
                          <a:effectLst/>
                          <a:latin typeface="+mn-lt"/>
                        </a:rPr>
                        <a:t>Definitions of Key Terms</a:t>
                      </a:r>
                      <a:endParaRPr kumimoji="0" lang="en-US" sz="1400" b="1" i="0" u="none" strike="noStrike" cap="none" normalizeH="0" baseline="0">
                        <a:ln>
                          <a:noFill/>
                        </a:ln>
                        <a:solidFill>
                          <a:schemeClr val="tx1"/>
                        </a:solidFill>
                        <a:effectLst/>
                        <a:latin typeface="+mn-lt"/>
                      </a:endParaRPr>
                    </a:p>
                  </a:txBody>
                  <a:tcPr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Leading Practice</a:t>
                      </a:r>
                    </a:p>
                  </a:txBody>
                  <a:tcPr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95622">
                <a:tc>
                  <a:txBody>
                    <a:bodyPr/>
                    <a:lstStyle/>
                    <a:p>
                      <a:pPr algn="ctr" defTabSz="914400">
                        <a:lnSpc>
                          <a:spcPct val="106000"/>
                        </a:lnSpc>
                        <a:defRPr/>
                      </a:pPr>
                      <a:r>
                        <a:rPr lang="en-US" sz="1200" b="1">
                          <a:solidFill>
                            <a:schemeClr val="tx1"/>
                          </a:solidFill>
                        </a:rPr>
                        <a:t>Payment Process Request, PPR Template</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450"/>
                        </a:spcBef>
                        <a:buSzPct val="100000"/>
                        <a:buFont typeface="Arial" panose="020B0604020202020204" pitchFamily="34" charset="0"/>
                        <a:buChar char="•"/>
                      </a:pPr>
                      <a:r>
                        <a:rPr lang="en-US" sz="1200" kern="1200">
                          <a:solidFill>
                            <a:schemeClr val="dk1"/>
                          </a:solidFill>
                          <a:latin typeface="+mn-lt"/>
                          <a:ea typeface="+mn-ea"/>
                          <a:cs typeface="+mn-cs"/>
                        </a:rPr>
                        <a:t>Payment process request is a group of installments that is submitted for payment.</a:t>
                      </a:r>
                    </a:p>
                    <a:p>
                      <a:pPr marL="171450" lvl="1" indent="-171450">
                        <a:buFont typeface="Arial" panose="020B0604020202020204" pitchFamily="34" charset="0"/>
                        <a:buChar char="•"/>
                      </a:pPr>
                      <a:r>
                        <a:rPr lang="en-US" sz="1200" kern="1200">
                          <a:solidFill>
                            <a:schemeClr val="dk1"/>
                          </a:solidFill>
                          <a:latin typeface="+mn-lt"/>
                          <a:ea typeface="+mn-ea"/>
                          <a:cs typeface="+mn-cs"/>
                        </a:rPr>
                        <a:t>For each payment process request specify selection criteria, payment attributes, processing options.</a:t>
                      </a:r>
                    </a:p>
                    <a:p>
                      <a:pPr marL="171450" lvl="1" indent="-171450">
                        <a:buFont typeface="Arial" panose="020B0604020202020204" pitchFamily="34" charset="0"/>
                        <a:buChar char="•"/>
                      </a:pPr>
                      <a:r>
                        <a:rPr lang="en-US" sz="1200" kern="1200">
                          <a:solidFill>
                            <a:schemeClr val="dk1"/>
                          </a:solidFill>
                          <a:latin typeface="+mn-lt"/>
                          <a:ea typeface="+mn-ea"/>
                          <a:cs typeface="+mn-cs"/>
                        </a:rPr>
                        <a:t>The payment process request template is used to minimize data entry for frequently used payment processing settings. </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454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dk1"/>
                          </a:solidFill>
                          <a:latin typeface="+mn-lt"/>
                          <a:ea typeface="+mn-ea"/>
                          <a:cs typeface="+mn-cs"/>
                        </a:rPr>
                        <a:t>Pay Groups</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t>A pay group is used to categorize invoices on the basis of payments to be made in a group ex: Utility</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6288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Payment Method</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450"/>
                        </a:spcBef>
                        <a:buSzPct val="100000"/>
                        <a:buFont typeface="Arial" panose="020B0604020202020204" pitchFamily="34" charset="0"/>
                        <a:buNone/>
                      </a:pPr>
                      <a:r>
                        <a:rPr lang="en-US" sz="1200" kern="1200">
                          <a:solidFill>
                            <a:schemeClr val="dk1"/>
                          </a:solidFill>
                          <a:latin typeface="+mn-lt"/>
                          <a:ea typeface="+mn-ea"/>
                          <a:cs typeface="+mn-cs"/>
                        </a:rPr>
                        <a:t>Oracle Cloud supports several payment methods for funds disbursement, including Check, EFT/ACH, Wire. </a:t>
                      </a:r>
                      <a:br>
                        <a:rPr lang="en-US" sz="1200" kern="1200">
                          <a:solidFill>
                            <a:srgbClr val="000000"/>
                          </a:solidFill>
                          <a:latin typeface="+mn-lt"/>
                          <a:ea typeface="+mn-ea"/>
                          <a:cs typeface="+mn-cs"/>
                        </a:rPr>
                      </a:br>
                      <a:r>
                        <a:rPr lang="en-US" sz="1200" kern="1200">
                          <a:solidFill>
                            <a:schemeClr val="dk1"/>
                          </a:solidFill>
                          <a:latin typeface="+mn-lt"/>
                          <a:ea typeface="+mn-ea"/>
                          <a:cs typeface="+mn-cs"/>
                        </a:rPr>
                        <a:t>Custom methods can be defined as required.</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917006">
                <a:tc>
                  <a:txBody>
                    <a:bodyPr/>
                    <a:lstStyle/>
                    <a:p>
                      <a:pPr algn="ctr">
                        <a:lnSpc>
                          <a:spcPct val="106000"/>
                        </a:lnSpc>
                      </a:pPr>
                      <a:r>
                        <a:rPr lang="en-US" sz="1200" b="1"/>
                        <a:t>Payment Process Profile</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dk1"/>
                          </a:solidFill>
                          <a:latin typeface="+mn-lt"/>
                          <a:ea typeface="+mn-ea"/>
                          <a:cs typeface="+mn-cs"/>
                        </a:rPr>
                        <a:t>A payment process profile is a payment attribute assigned to documents payable, which specifies how Oracle Cloud performs processing. </a:t>
                      </a:r>
                      <a:br>
                        <a:rPr lang="en-US" sz="1200" kern="1200">
                          <a:solidFill>
                            <a:srgbClr val="000000"/>
                          </a:solidFill>
                          <a:latin typeface="+mn-lt"/>
                          <a:ea typeface="+mn-ea"/>
                          <a:cs typeface="+mn-cs"/>
                        </a:rPr>
                      </a:br>
                      <a:r>
                        <a:rPr lang="en-US" sz="1200" kern="1200">
                          <a:solidFill>
                            <a:schemeClr val="dk1"/>
                          </a:solidFill>
                          <a:latin typeface="+mn-lt"/>
                          <a:ea typeface="+mn-ea"/>
                          <a:cs typeface="+mn-cs"/>
                        </a:rPr>
                        <a:t>Payment process profiles are comprised of several types of payment processing information, including specifications for formatting and transmission. e.g., Check PPP &amp; ACH PPP.</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9775329"/>
                  </a:ext>
                </a:extLst>
              </a:tr>
              <a:tr h="7132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dk1"/>
                          </a:solidFill>
                          <a:latin typeface="+mn-lt"/>
                          <a:ea typeface="+mn-ea"/>
                          <a:cs typeface="+mn-cs"/>
                        </a:rPr>
                        <a:t>Formats</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450"/>
                        </a:spcBef>
                        <a:buSzPct val="100000"/>
                        <a:buFont typeface="Arial" panose="020B0604020202020204" pitchFamily="34" charset="0"/>
                        <a:buNone/>
                      </a:pPr>
                      <a:r>
                        <a:rPr lang="en-US" sz="1200" kern="1200">
                          <a:solidFill>
                            <a:schemeClr val="dk1"/>
                          </a:solidFill>
                          <a:latin typeface="+mn-lt"/>
                          <a:ea typeface="+mn-ea"/>
                          <a:cs typeface="+mn-cs"/>
                        </a:rPr>
                        <a:t>A customized layout for Checks and Electronic payments that adhere to the bank requirements.</a:t>
                      </a:r>
                      <a:br>
                        <a:rPr lang="en-US" sz="1200" kern="1200">
                          <a:solidFill>
                            <a:srgbClr val="000000"/>
                          </a:solidFill>
                          <a:latin typeface="+mn-lt"/>
                          <a:ea typeface="+mn-ea"/>
                          <a:cs typeface="+mn-cs"/>
                        </a:rPr>
                      </a:br>
                      <a:r>
                        <a:rPr lang="en-US" sz="1200" kern="1200">
                          <a:solidFill>
                            <a:schemeClr val="dk1"/>
                          </a:solidFill>
                          <a:latin typeface="+mn-lt"/>
                          <a:ea typeface="+mn-ea"/>
                          <a:cs typeface="+mn-cs"/>
                        </a:rPr>
                        <a:t>A check layout include all the check specification from bank along with the optional logo, and signatures based on business need.</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6849688"/>
                  </a:ext>
                </a:extLst>
              </a:tr>
            </a:tbl>
          </a:graphicData>
        </a:graphic>
      </p:graphicFrame>
    </p:spTree>
    <p:extLst>
      <p:ext uri="{BB962C8B-B14F-4D97-AF65-F5344CB8AC3E}">
        <p14:creationId xmlns:p14="http://schemas.microsoft.com/office/powerpoint/2010/main" val="131758053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72D0A68-154A-4DD3-B78F-0372FBAB1DE0}"/>
              </a:ext>
            </a:extLst>
          </p:cNvPr>
          <p:cNvSpPr txBox="1"/>
          <p:nvPr/>
        </p:nvSpPr>
        <p:spPr>
          <a:xfrm>
            <a:off x="526259" y="1684265"/>
            <a:ext cx="11252200" cy="400110"/>
          </a:xfrm>
          <a:prstGeom prst="rect">
            <a:avLst/>
          </a:prstGeom>
          <a:noFill/>
        </p:spPr>
        <p:txBody>
          <a:bodyPr wrap="square" lIns="0" tIns="0" rIns="0" bIns="0" rtlCol="0" anchor="t">
            <a:spAutoFit/>
          </a:bodyPr>
          <a:lstStyle/>
          <a:p>
            <a:pPr marL="285750" indent="-285750">
              <a:spcBef>
                <a:spcPts val="600"/>
              </a:spcBef>
              <a:buSzPct val="100000"/>
              <a:buFont typeface="Arial" panose="020B0604020202020204" pitchFamily="34" charset="0"/>
              <a:buChar char="•"/>
            </a:pPr>
            <a:endParaRPr lang="en-US" sz="1400">
              <a:solidFill>
                <a:srgbClr val="313131"/>
              </a:solidFill>
              <a:cs typeface="Calibri"/>
            </a:endParaRPr>
          </a:p>
          <a:p>
            <a:pPr marL="171450" indent="-171450">
              <a:buFont typeface="Arial" panose="020B0604020202020204" pitchFamily="34" charset="0"/>
              <a:buChar char="•"/>
            </a:pPr>
            <a:endParaRPr lang="en-US" sz="1200">
              <a:solidFill>
                <a:srgbClr val="313131"/>
              </a:solidFill>
            </a:endParaRPr>
          </a:p>
        </p:txBody>
      </p:sp>
      <p:sp>
        <p:nvSpPr>
          <p:cNvPr id="5" name="Text Placeholder 12">
            <a:extLst>
              <a:ext uri="{FF2B5EF4-FFF2-40B4-BE49-F238E27FC236}">
                <a16:creationId xmlns:a16="http://schemas.microsoft.com/office/drawing/2014/main" id="{47C6644F-EC13-42DD-AEE3-51928206F087}"/>
              </a:ext>
            </a:extLst>
          </p:cNvPr>
          <p:cNvSpPr txBox="1">
            <a:spLocks/>
          </p:cNvSpPr>
          <p:nvPr/>
        </p:nvSpPr>
        <p:spPr>
          <a:xfrm>
            <a:off x="558009" y="92701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a:p>
        </p:txBody>
      </p:sp>
      <p:sp>
        <p:nvSpPr>
          <p:cNvPr id="36" name="Title 3">
            <a:extLst>
              <a:ext uri="{FF2B5EF4-FFF2-40B4-BE49-F238E27FC236}">
                <a16:creationId xmlns:a16="http://schemas.microsoft.com/office/drawing/2014/main" id="{3201C2AD-A73C-4875-85AB-65F148EA4244}"/>
              </a:ext>
            </a:extLst>
          </p:cNvPr>
          <p:cNvSpPr txBox="1">
            <a:spLocks/>
          </p:cNvSpPr>
          <p:nvPr/>
        </p:nvSpPr>
        <p:spPr bwMode="gray">
          <a:xfrm>
            <a:off x="469900" y="347273"/>
            <a:ext cx="11252200" cy="53158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endParaRPr lang="en-US" altLang="en-US">
              <a:latin typeface="+mn-lt"/>
            </a:endParaRPr>
          </a:p>
        </p:txBody>
      </p:sp>
      <p:sp>
        <p:nvSpPr>
          <p:cNvPr id="33" name="Title 3">
            <a:extLst>
              <a:ext uri="{FF2B5EF4-FFF2-40B4-BE49-F238E27FC236}">
                <a16:creationId xmlns:a16="http://schemas.microsoft.com/office/drawing/2014/main" id="{FA2C2F50-D5CC-400F-A4E3-478C4D2AED37}"/>
              </a:ext>
            </a:extLst>
          </p:cNvPr>
          <p:cNvSpPr txBox="1">
            <a:spLocks/>
          </p:cNvSpPr>
          <p:nvPr/>
        </p:nvSpPr>
        <p:spPr bwMode="gray">
          <a:xfrm>
            <a:off x="501650" y="447269"/>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US" sz="3000" b="1">
                <a:cs typeface="Calibri Light"/>
              </a:rPr>
              <a:t>Payments: Key Terminology</a:t>
            </a:r>
          </a:p>
        </p:txBody>
      </p:sp>
      <p:sp>
        <p:nvSpPr>
          <p:cNvPr id="34" name="Text Placeholder 12">
            <a:extLst>
              <a:ext uri="{FF2B5EF4-FFF2-40B4-BE49-F238E27FC236}">
                <a16:creationId xmlns:a16="http://schemas.microsoft.com/office/drawing/2014/main" id="{4157B8F8-01E9-48EF-9D74-1213712BB293}"/>
              </a:ext>
            </a:extLst>
          </p:cNvPr>
          <p:cNvSpPr txBox="1">
            <a:spLocks/>
          </p:cNvSpPr>
          <p:nvPr/>
        </p:nvSpPr>
        <p:spPr>
          <a:xfrm>
            <a:off x="558009" y="924575"/>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Key Terms for Oracle Payments are as below:</a:t>
            </a:r>
          </a:p>
        </p:txBody>
      </p:sp>
      <p:graphicFrame>
        <p:nvGraphicFramePr>
          <p:cNvPr id="31" name="Content Placeholder 6">
            <a:extLst>
              <a:ext uri="{FF2B5EF4-FFF2-40B4-BE49-F238E27FC236}">
                <a16:creationId xmlns:a16="http://schemas.microsoft.com/office/drawing/2014/main" id="{86D29932-240A-4696-A6BC-848BC6CFD33E}"/>
              </a:ext>
            </a:extLst>
          </p:cNvPr>
          <p:cNvGraphicFramePr>
            <a:graphicFrameLocks/>
          </p:cNvGraphicFramePr>
          <p:nvPr>
            <p:extLst>
              <p:ext uri="{D42A27DB-BD31-4B8C-83A1-F6EECF244321}">
                <p14:modId xmlns:p14="http://schemas.microsoft.com/office/powerpoint/2010/main" val="1042153867"/>
              </p:ext>
            </p:extLst>
          </p:nvPr>
        </p:nvGraphicFramePr>
        <p:xfrm>
          <a:off x="762952" y="1448475"/>
          <a:ext cx="10660040" cy="4148327"/>
        </p:xfrm>
        <a:graphic>
          <a:graphicData uri="http://schemas.openxmlformats.org/drawingml/2006/table">
            <a:tbl>
              <a:tblPr firstRow="1" bandRow="1">
                <a:tableStyleId>{5C22544A-7EE6-4342-B048-85BDC9FD1C3A}</a:tableStyleId>
              </a:tblPr>
              <a:tblGrid>
                <a:gridCol w="2123325">
                  <a:extLst>
                    <a:ext uri="{9D8B030D-6E8A-4147-A177-3AD203B41FA5}">
                      <a16:colId xmlns:a16="http://schemas.microsoft.com/office/drawing/2014/main" val="20000"/>
                    </a:ext>
                  </a:extLst>
                </a:gridCol>
                <a:gridCol w="8536715">
                  <a:extLst>
                    <a:ext uri="{9D8B030D-6E8A-4147-A177-3AD203B41FA5}">
                      <a16:colId xmlns:a16="http://schemas.microsoft.com/office/drawing/2014/main" val="20002"/>
                    </a:ext>
                  </a:extLst>
                </a:gridCol>
              </a:tblGrid>
              <a:tr h="330883">
                <a:tc>
                  <a:txBody>
                    <a:bodyPr/>
                    <a:lstStyle/>
                    <a:p>
                      <a:pPr lvl="0" algn="ctr">
                        <a:lnSpc>
                          <a:spcPct val="100000"/>
                        </a:lnSpc>
                        <a:spcBef>
                          <a:spcPts val="0"/>
                        </a:spcBef>
                        <a:spcAft>
                          <a:spcPts val="0"/>
                        </a:spcAft>
                        <a:buNone/>
                      </a:pPr>
                      <a:r>
                        <a:rPr lang="en-US" sz="1400" b="1" i="0" u="none" strike="noStrike" cap="none" normalizeH="0" baseline="0" noProof="0">
                          <a:ln>
                            <a:noFill/>
                          </a:ln>
                          <a:solidFill>
                            <a:schemeClr val="tx1"/>
                          </a:solidFill>
                          <a:effectLst/>
                          <a:latin typeface="Calibri"/>
                        </a:rPr>
                        <a:t>Payment Definitions of Key</a:t>
                      </a:r>
                      <a:r>
                        <a:rPr kumimoji="0" lang="en-US" sz="1400" b="1" i="0" u="none" strike="noStrike" cap="none" normalizeH="0" baseline="0" noProof="0">
                          <a:ln>
                            <a:noFill/>
                          </a:ln>
                          <a:solidFill>
                            <a:schemeClr val="tx1"/>
                          </a:solidFill>
                          <a:effectLst/>
                          <a:latin typeface="Calibri"/>
                        </a:rPr>
                        <a:t> Terms</a:t>
                      </a:r>
                      <a:endParaRPr lang="en-US" sz="1400" b="1" i="0" u="none" strike="noStrike" cap="none" normalizeH="0" baseline="0" noProof="0">
                        <a:ln>
                          <a:noFill/>
                        </a:ln>
                        <a:effectLst/>
                        <a:latin typeface="Calibri"/>
                      </a:endParaRPr>
                    </a:p>
                  </a:txBody>
                  <a:tcPr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Leading Practice</a:t>
                      </a:r>
                    </a:p>
                  </a:txBody>
                  <a:tcPr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74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Usage Rule</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450"/>
                        </a:spcBef>
                        <a:spcAft>
                          <a:spcPts val="0"/>
                        </a:spcAft>
                        <a:buClrTx/>
                        <a:buSzPct val="100000"/>
                        <a:buFont typeface="Arial" panose="020B0604020202020204" pitchFamily="34" charset="0"/>
                        <a:buNone/>
                        <a:tabLst/>
                        <a:defRPr/>
                      </a:pPr>
                      <a:r>
                        <a:rPr lang="en-US" sz="1200"/>
                        <a:t>Usage rules defined at payment method level will help restricting the usage of the payment method to a specific legal entity, business unit, bank account etc.</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6325">
                <a:tc>
                  <a:txBody>
                    <a:bodyPr/>
                    <a:lstStyle/>
                    <a:p>
                      <a:pPr marL="0" marR="0" lvl="0" indent="0" algn="ctr" rtl="0" eaLnBrk="1" fontAlgn="auto" latinLnBrk="0" hangingPunct="1">
                        <a:lnSpc>
                          <a:spcPct val="100000"/>
                        </a:lnSpc>
                        <a:spcBef>
                          <a:spcPts val="0"/>
                        </a:spcBef>
                        <a:spcAft>
                          <a:spcPts val="0"/>
                        </a:spcAft>
                        <a:buClrTx/>
                        <a:buSzTx/>
                        <a:buFontTx/>
                        <a:buNone/>
                      </a:pPr>
                      <a:r>
                        <a:rPr lang="en-US" sz="1200" b="1"/>
                        <a:t>Separate Remittance Advice </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450"/>
                        </a:spcBef>
                        <a:spcAft>
                          <a:spcPts val="0"/>
                        </a:spcAft>
                        <a:buClrTx/>
                        <a:buSzPct val="100000"/>
                        <a:buFont typeface="Arial" panose="020B0604020202020204" pitchFamily="34" charset="0"/>
                        <a:buNone/>
                        <a:tabLst/>
                        <a:defRPr/>
                      </a:pPr>
                      <a:r>
                        <a:rPr lang="en-US" sz="1200"/>
                        <a:t>A predefined disbursement report that is sent electronically to suppliers, which lists the invoices your company paid.</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4720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Third Party Payments</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450"/>
                        </a:spcBef>
                        <a:buSzPct val="100000"/>
                        <a:buFont typeface="Arial" panose="020B0604020202020204" pitchFamily="34" charset="0"/>
                        <a:buNone/>
                      </a:pPr>
                      <a:r>
                        <a:rPr lang="en-US" sz="1200" kern="1200">
                          <a:solidFill>
                            <a:schemeClr val="dk1"/>
                          </a:solidFill>
                          <a:latin typeface="+mn-lt"/>
                          <a:ea typeface="+mn-ea"/>
                          <a:cs typeface="+mn-cs"/>
                        </a:rPr>
                        <a:t>A third-party payment is a payment that you make to a supplier on behalf of another supplier.</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694855">
                <a:tc>
                  <a:txBody>
                    <a:bodyPr/>
                    <a:lstStyle/>
                    <a:p>
                      <a:pPr algn="ctr">
                        <a:lnSpc>
                          <a:spcPct val="106000"/>
                        </a:lnSpc>
                      </a:pPr>
                      <a:r>
                        <a:rPr lang="en-US" sz="1200" b="1"/>
                        <a:t>Positive Pay</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dk1"/>
                          </a:solidFill>
                          <a:latin typeface="+mn-lt"/>
                          <a:ea typeface="+mn-ea"/>
                          <a:cs typeface="+mn-cs"/>
                        </a:rPr>
                        <a:t>A positive pay file is a predefined disbursement report, which acts as a security measure that your company can implement. The report prevents check fraud by informing your payment system or bank of issued payment documents and their amounts.</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9775329"/>
                  </a:ext>
                </a:extLst>
              </a:tr>
              <a:tr h="609747">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a:t>Manual</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1200"/>
                        <a:t>A payment created outside of Payables and then recorded in Payables.</a:t>
                      </a:r>
                      <a:endParaRPr lang="en-US" sz="1200">
                        <a:latin typeface="+mn-lt"/>
                      </a:endParaRP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6031832"/>
                  </a:ext>
                </a:extLst>
              </a:tr>
              <a:tr h="609747">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Arial"/>
                        </a:rPr>
                        <a:t>Refund</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a:latin typeface="+mn-lt"/>
                        </a:rPr>
                        <a:t>A payment for a customer that closes an outstanding credit balance in AR</a:t>
                      </a:r>
                      <a:endParaRPr lang="en-US" sz="1200"/>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4934894"/>
                  </a:ext>
                </a:extLst>
              </a:tr>
            </a:tbl>
          </a:graphicData>
        </a:graphic>
      </p:graphicFrame>
    </p:spTree>
    <p:extLst>
      <p:ext uri="{BB962C8B-B14F-4D97-AF65-F5344CB8AC3E}">
        <p14:creationId xmlns:p14="http://schemas.microsoft.com/office/powerpoint/2010/main" val="115782657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2">
            <a:extLst>
              <a:ext uri="{FF2B5EF4-FFF2-40B4-BE49-F238E27FC236}">
                <a16:creationId xmlns:a16="http://schemas.microsoft.com/office/drawing/2014/main" id="{3C25657C-19D4-4B93-B96C-DACEDD67D364}"/>
              </a:ext>
            </a:extLst>
          </p:cNvPr>
          <p:cNvSpPr txBox="1">
            <a:spLocks/>
          </p:cNvSpPr>
          <p:nvPr/>
        </p:nvSpPr>
        <p:spPr>
          <a:xfrm>
            <a:off x="526648" y="755130"/>
            <a:ext cx="11188700" cy="1035142"/>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spcBef>
                <a:spcPts val="450"/>
              </a:spcBef>
            </a:pPr>
            <a:r>
              <a:rPr lang="en-US">
                <a:cs typeface="Calibri Light"/>
              </a:rPr>
              <a:t>A payment process request is a group of installments submitted for payment. </a:t>
            </a:r>
            <a:endParaRPr lang="en-US"/>
          </a:p>
          <a:p>
            <a:pPr>
              <a:spcBef>
                <a:spcPts val="450"/>
              </a:spcBef>
            </a:pPr>
            <a:r>
              <a:rPr lang="en-US" sz="1400" b="0" i="0">
                <a:solidFill>
                  <a:srgbClr val="1A1816"/>
                </a:solidFill>
                <a:effectLst/>
                <a:cs typeface="Calibri Light"/>
              </a:rPr>
              <a:t>You can submit a payment process request on the Submit Payment Process Request page. </a:t>
            </a:r>
            <a:br>
              <a:rPr lang="en-US" sz="1400" b="0" i="0">
                <a:effectLst/>
              </a:rPr>
            </a:br>
            <a:r>
              <a:rPr lang="en-US" sz="1400" b="0" i="0">
                <a:solidFill>
                  <a:srgbClr val="1A1816"/>
                </a:solidFill>
                <a:effectLst/>
                <a:cs typeface="Calibri Light"/>
              </a:rPr>
              <a:t>You can also create a template on the Create Payment Process Request Template page and schedule the template to submit the payment process request </a:t>
            </a:r>
            <a:r>
              <a:rPr lang="en-US" sz="1400">
                <a:solidFill>
                  <a:srgbClr val="1A1816"/>
                </a:solidFill>
                <a:cs typeface="Calibri Light"/>
              </a:rPr>
              <a:t>at a specified time each week/month and run as a background process.  You can have multiple templates scheduled to run at different times with different selection criteria.</a:t>
            </a:r>
            <a:endParaRPr lang="en-US" sz="1400">
              <a:solidFill>
                <a:schemeClr val="dk1"/>
              </a:solidFill>
              <a:cs typeface="+mn-cs"/>
            </a:endParaRPr>
          </a:p>
          <a:p>
            <a:endParaRPr lang="en-US">
              <a:cs typeface="Calibri Light"/>
            </a:endParaRPr>
          </a:p>
        </p:txBody>
      </p:sp>
      <p:sp>
        <p:nvSpPr>
          <p:cNvPr id="6" name="Title 9">
            <a:extLst>
              <a:ext uri="{FF2B5EF4-FFF2-40B4-BE49-F238E27FC236}">
                <a16:creationId xmlns:a16="http://schemas.microsoft.com/office/drawing/2014/main" id="{8EFD8275-551B-4DF5-A435-C98C676C2BE1}"/>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Manage Payments – Payable Payment Process</a:t>
            </a:r>
          </a:p>
        </p:txBody>
      </p:sp>
      <p:grpSp>
        <p:nvGrpSpPr>
          <p:cNvPr id="19" name="Group 18">
            <a:extLst>
              <a:ext uri="{FF2B5EF4-FFF2-40B4-BE49-F238E27FC236}">
                <a16:creationId xmlns:a16="http://schemas.microsoft.com/office/drawing/2014/main" id="{3AB97157-3F63-4E5A-882D-0F33808D87AF}"/>
              </a:ext>
            </a:extLst>
          </p:cNvPr>
          <p:cNvGrpSpPr/>
          <p:nvPr/>
        </p:nvGrpSpPr>
        <p:grpSpPr>
          <a:xfrm>
            <a:off x="933906" y="2317406"/>
            <a:ext cx="7037070" cy="3010971"/>
            <a:chOff x="1474680" y="1901655"/>
            <a:chExt cx="7037070" cy="3010971"/>
          </a:xfrm>
        </p:grpSpPr>
        <p:graphicFrame>
          <p:nvGraphicFramePr>
            <p:cNvPr id="17" name="Content Placeholder 6"/>
            <p:cNvGraphicFramePr>
              <a:graphicFrameLocks/>
            </p:cNvGraphicFramePr>
            <p:nvPr>
              <p:extLst>
                <p:ext uri="{D42A27DB-BD31-4B8C-83A1-F6EECF244321}">
                  <p14:modId xmlns:p14="http://schemas.microsoft.com/office/powerpoint/2010/main" val="349244415"/>
                </p:ext>
              </p:extLst>
            </p:nvPr>
          </p:nvGraphicFramePr>
          <p:xfrm>
            <a:off x="1474680" y="1901655"/>
            <a:ext cx="6814718" cy="2959210"/>
          </p:xfrm>
          <a:graphic>
            <a:graphicData uri="http://schemas.openxmlformats.org/drawingml/2006/table">
              <a:tbl>
                <a:tblPr firstRow="1" bandRow="1">
                  <a:tableStyleId>{5C22544A-7EE6-4342-B048-85BDC9FD1C3A}</a:tableStyleId>
                </a:tblPr>
                <a:tblGrid>
                  <a:gridCol w="2725887">
                    <a:extLst>
                      <a:ext uri="{9D8B030D-6E8A-4147-A177-3AD203B41FA5}">
                        <a16:colId xmlns:a16="http://schemas.microsoft.com/office/drawing/2014/main" val="20000"/>
                      </a:ext>
                    </a:extLst>
                  </a:gridCol>
                  <a:gridCol w="4088831">
                    <a:extLst>
                      <a:ext uri="{9D8B030D-6E8A-4147-A177-3AD203B41FA5}">
                        <a16:colId xmlns:a16="http://schemas.microsoft.com/office/drawing/2014/main" val="20001"/>
                      </a:ext>
                    </a:extLst>
                  </a:gridCol>
                </a:tblGrid>
                <a:tr h="338190">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400" b="1" u="none" strike="noStrike" kern="1200" cap="none" normalizeH="0" baseline="0">
                            <a:ln>
                              <a:noFill/>
                            </a:ln>
                            <a:solidFill>
                              <a:schemeClr val="tx1"/>
                            </a:solidFill>
                            <a:effectLst/>
                            <a:latin typeface="+mn-lt"/>
                            <a:ea typeface="+mn-ea"/>
                            <a:cs typeface="+mn-cs"/>
                          </a:rPr>
                          <a:t>Payment methods</a:t>
                        </a: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a:ln>
                              <a:noFill/>
                            </a:ln>
                            <a:solidFill>
                              <a:schemeClr val="tx1"/>
                            </a:solidFill>
                            <a:effectLst/>
                            <a:latin typeface="+mn-lt"/>
                          </a:rPr>
                          <a:t>Description</a:t>
                        </a:r>
                        <a:endParaRPr kumimoji="0" lang="en-US" sz="1400" b="1" i="0" u="none" strike="noStrike" cap="none" normalizeH="0" baseline="0">
                          <a:ln>
                            <a:noFill/>
                          </a:ln>
                          <a:solidFill>
                            <a:schemeClr val="tx1"/>
                          </a:solidFill>
                          <a:effectLst/>
                          <a:latin typeface="+mn-lt"/>
                        </a:endParaRP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96394">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a:t>Selection Criteria</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en-US" sz="1200" b="1" kern="1200">
                          <a:solidFill>
                            <a:schemeClr val="dk1"/>
                          </a:solidFill>
                          <a:latin typeface="+mn-lt"/>
                          <a:ea typeface="+mn-ea"/>
                          <a:cs typeface="+mn-cs"/>
                        </a:endParaRP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defRPr/>
                        </a:pPr>
                        <a:r>
                          <a:rPr lang="en-US" sz="1200"/>
                          <a:t>Pay Group</a:t>
                        </a:r>
                      </a:p>
                      <a:p>
                        <a:pPr marL="171450" indent="-171450">
                          <a:buFont typeface="Arial" panose="020B0604020202020204" pitchFamily="34" charset="0"/>
                          <a:buChar char="•"/>
                          <a:defRPr/>
                        </a:pPr>
                        <a:r>
                          <a:rPr lang="en-US" sz="1200"/>
                          <a:t>Payment Method</a:t>
                        </a:r>
                      </a:p>
                      <a:p>
                        <a:pPr marL="171450" indent="-171450">
                          <a:buFont typeface="Arial" panose="020B0604020202020204" pitchFamily="34" charset="0"/>
                          <a:buChar char="•"/>
                          <a:defRPr/>
                        </a:pPr>
                        <a:r>
                          <a:rPr lang="en-US" sz="1200"/>
                          <a:t>Currencies</a:t>
                        </a:r>
                      </a:p>
                      <a:p>
                        <a:pPr marL="171450" indent="-171450">
                          <a:buFont typeface="Arial" panose="020B0604020202020204" pitchFamily="34" charset="0"/>
                          <a:buChar char="•"/>
                          <a:defRPr/>
                        </a:pPr>
                        <a:r>
                          <a:rPr lang="en-US" sz="1200"/>
                          <a:t>Business Unit</a:t>
                        </a:r>
                      </a:p>
                      <a:p>
                        <a:pPr marL="171450" indent="-171450">
                          <a:buFont typeface="Arial" panose="020B0604020202020204" pitchFamily="34" charset="0"/>
                          <a:buChar char="•"/>
                          <a:defRPr/>
                        </a:pPr>
                        <a:r>
                          <a:rPr lang="en-US" sz="1200"/>
                          <a:t>Legal Entities</a:t>
                        </a:r>
                      </a:p>
                      <a:p>
                        <a:pPr marL="171450" indent="-171450">
                          <a:buFont typeface="Arial" panose="020B0604020202020204" pitchFamily="34" charset="0"/>
                          <a:buChar char="•"/>
                          <a:defRPr/>
                        </a:pPr>
                        <a:r>
                          <a:rPr lang="en-US" sz="1200"/>
                          <a:t>Source</a:t>
                        </a:r>
                      </a:p>
                      <a:p>
                        <a:pPr marL="171450" indent="-171450">
                          <a:buFont typeface="Arial" panose="020B0604020202020204" pitchFamily="34" charset="0"/>
                          <a:buChar char="•"/>
                          <a:defRPr/>
                        </a:pPr>
                        <a:r>
                          <a:rPr lang="en-US" sz="1200"/>
                          <a:t>Supplier or Party</a:t>
                        </a: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60890">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a:t>Payment and Processing Options</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en-US" sz="1200" b="1"/>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a:solidFill>
                              <a:schemeClr val="dk1"/>
                            </a:solidFill>
                            <a:latin typeface="+mn-lt"/>
                            <a:ea typeface="+mn-ea"/>
                            <a:cs typeface="+mn-cs"/>
                          </a:rPr>
                          <a:t>   </a:t>
                        </a:r>
                        <a:r>
                          <a:rPr lang="en-US" sz="1200" b="0" kern="1200">
                            <a:solidFill>
                              <a:schemeClr val="dk1"/>
                            </a:solidFill>
                            <a:latin typeface="+mn-lt"/>
                            <a:ea typeface="+mn-ea"/>
                            <a:cs typeface="+mn-cs"/>
                          </a:rPr>
                          <a:t> </a:t>
                        </a:r>
                        <a:r>
                          <a:rPr lang="en-US" sz="1200" b="1"/>
                          <a:t>Payment Attributes</a:t>
                        </a:r>
                      </a:p>
                      <a:p>
                        <a:pPr marL="171450" indent="-171450">
                          <a:buFont typeface="Arial" panose="020B0604020202020204" pitchFamily="34" charset="0"/>
                          <a:buChar char="•"/>
                          <a:defRPr/>
                        </a:pPr>
                        <a:r>
                          <a:rPr lang="en-US" sz="1200"/>
                          <a:t>Disbursement Bank Account</a:t>
                        </a:r>
                      </a:p>
                      <a:p>
                        <a:pPr marL="171450" indent="-171450">
                          <a:buFont typeface="Arial" panose="020B0604020202020204" pitchFamily="34" charset="0"/>
                          <a:buChar char="•"/>
                          <a:defRPr/>
                        </a:pPr>
                        <a:r>
                          <a:rPr lang="en-US" sz="1200"/>
                          <a:t>Payment Document</a:t>
                        </a:r>
                      </a:p>
                      <a:p>
                        <a:pPr marL="171450" indent="-171450">
                          <a:buFont typeface="Arial" panose="020B0604020202020204" pitchFamily="34" charset="0"/>
                          <a:buChar char="•"/>
                          <a:defRPr/>
                        </a:pPr>
                        <a:r>
                          <a:rPr lang="en-US" sz="1200"/>
                          <a:t>Payment Process Profile</a:t>
                        </a:r>
                      </a:p>
                      <a:p>
                        <a:pPr marL="171450" indent="-171450">
                          <a:buFont typeface="Arial" panose="020B0604020202020204" pitchFamily="34" charset="0"/>
                          <a:buChar char="•"/>
                          <a:defRPr/>
                        </a:pPr>
                        <a:r>
                          <a:rPr lang="en-US" sz="1200"/>
                          <a:t>Payment Conversion Rate Types</a:t>
                        </a: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2368473"/>
                    </a:ext>
                  </a:extLst>
                </a:tr>
              </a:tbl>
            </a:graphicData>
          </a:graphic>
        </p:graphicFrame>
        <p:sp>
          <p:nvSpPr>
            <p:cNvPr id="18" name="TextBox 17">
              <a:extLst>
                <a:ext uri="{FF2B5EF4-FFF2-40B4-BE49-F238E27FC236}">
                  <a16:creationId xmlns:a16="http://schemas.microsoft.com/office/drawing/2014/main" id="{C3D56775-2F64-4F19-BCF5-D8601824F329}"/>
                </a:ext>
              </a:extLst>
            </p:cNvPr>
            <p:cNvSpPr txBox="1"/>
            <p:nvPr/>
          </p:nvSpPr>
          <p:spPr>
            <a:xfrm>
              <a:off x="6510003" y="3727686"/>
              <a:ext cx="2001747" cy="1184940"/>
            </a:xfrm>
            <a:prstGeom prst="rect">
              <a:avLst/>
            </a:prstGeom>
            <a:noFill/>
          </p:spPr>
          <p:txBody>
            <a:bodyPr wrap="square" lIns="0" tIns="0" rIns="0" bIns="0" rtlCol="0" anchor="t">
              <a:spAutoFit/>
            </a:bodyPr>
            <a:lstStyle/>
            <a:p>
              <a:pPr marL="0" indent="0">
                <a:buFont typeface="Arial" panose="020B0604020202020204" pitchFamily="34" charset="0"/>
                <a:buNone/>
                <a:defRPr/>
              </a:pPr>
              <a:r>
                <a:rPr lang="en-US" sz="1200" b="1"/>
                <a:t>Processing Options</a:t>
              </a:r>
            </a:p>
            <a:p>
              <a:pPr marL="171450" indent="-171450">
                <a:buFont typeface="Arial" panose="020B0604020202020204" pitchFamily="34" charset="0"/>
                <a:buChar char="•"/>
                <a:defRPr/>
              </a:pPr>
              <a:r>
                <a:rPr lang="en-US" sz="1200"/>
                <a:t>Review Proposed Payments</a:t>
              </a:r>
              <a:endParaRPr lang="en-US" sz="1200">
                <a:cs typeface="Calibri"/>
              </a:endParaRPr>
            </a:p>
            <a:p>
              <a:pPr marL="171450" indent="-171450">
                <a:buFont typeface="Arial" panose="020B0604020202020204" pitchFamily="34" charset="0"/>
                <a:buChar char="•"/>
                <a:defRPr/>
              </a:pPr>
              <a:r>
                <a:rPr lang="en-US" sz="1200"/>
                <a:t>Review Installments</a:t>
              </a:r>
            </a:p>
            <a:p>
              <a:pPr marL="171450" indent="-171450">
                <a:buFont typeface="Arial" panose="020B0604020202020204" pitchFamily="34" charset="0"/>
                <a:buChar char="•"/>
                <a:defRPr/>
              </a:pPr>
              <a:r>
                <a:rPr lang="en-US" sz="1200"/>
                <a:t>Create Payment files Immediately</a:t>
              </a:r>
              <a:endParaRPr lang="en-US" sz="1200">
                <a:cs typeface="Calibri"/>
              </a:endParaRPr>
            </a:p>
            <a:p>
              <a:pPr marL="203200" indent="-203200">
                <a:spcBef>
                  <a:spcPts val="600"/>
                </a:spcBef>
                <a:buSzPct val="100000"/>
                <a:buFont typeface="Arial"/>
                <a:buChar char="•"/>
              </a:pPr>
              <a:endParaRPr lang="en-US" sz="1200">
                <a:solidFill>
                  <a:srgbClr val="313131"/>
                </a:solidFill>
              </a:endParaRPr>
            </a:p>
          </p:txBody>
        </p:sp>
      </p:grpSp>
    </p:spTree>
    <p:extLst>
      <p:ext uri="{BB962C8B-B14F-4D97-AF65-F5344CB8AC3E}">
        <p14:creationId xmlns:p14="http://schemas.microsoft.com/office/powerpoint/2010/main" val="2949949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AED166A-FCB9-3623-6B07-016796695496}"/>
              </a:ext>
            </a:extLst>
          </p:cNvPr>
          <p:cNvSpPr>
            <a:spLocks noGrp="1"/>
          </p:cNvSpPr>
          <p:nvPr>
            <p:ph type="title"/>
          </p:nvPr>
        </p:nvSpPr>
        <p:spPr>
          <a:xfrm>
            <a:off x="469900" y="1029286"/>
            <a:ext cx="10418233" cy="1592403"/>
          </a:xfrm>
        </p:spPr>
        <p:txBody>
          <a:bodyPr/>
          <a:lstStyle/>
          <a:p>
            <a:r>
              <a:rPr lang="en-US">
                <a:ea typeface="Open Sans"/>
                <a:cs typeface="Open Sans"/>
              </a:rPr>
              <a:t> Demonstration</a:t>
            </a:r>
            <a:endParaRPr lang="en-US"/>
          </a:p>
        </p:txBody>
      </p:sp>
      <p:sp>
        <p:nvSpPr>
          <p:cNvPr id="2" name="Text Placeholder 1">
            <a:extLst>
              <a:ext uri="{FF2B5EF4-FFF2-40B4-BE49-F238E27FC236}">
                <a16:creationId xmlns:a16="http://schemas.microsoft.com/office/drawing/2014/main" id="{DC43894B-EF79-9163-A653-3A70FA86198A}"/>
              </a:ext>
            </a:extLst>
          </p:cNvPr>
          <p:cNvSpPr>
            <a:spLocks noGrp="1"/>
          </p:cNvSpPr>
          <p:nvPr>
            <p:ph type="body" idx="1"/>
          </p:nvPr>
        </p:nvSpPr>
        <p:spPr>
          <a:xfrm>
            <a:off x="589764" y="2618936"/>
            <a:ext cx="10298368" cy="1566532"/>
          </a:xfrm>
        </p:spPr>
        <p:txBody>
          <a:bodyPr vert="horz" lIns="0" tIns="0" rIns="0" bIns="0" rtlCol="0" anchor="t">
            <a:noAutofit/>
          </a:bodyPr>
          <a:lstStyle/>
          <a:p>
            <a:r>
              <a:rPr lang="en-US">
                <a:cs typeface="Calibri Light"/>
              </a:rPr>
              <a:t>PAYMENTS </a:t>
            </a:r>
            <a:endParaRPr lang="en-US"/>
          </a:p>
        </p:txBody>
      </p:sp>
    </p:spTree>
    <p:extLst>
      <p:ext uri="{BB962C8B-B14F-4D97-AF65-F5344CB8AC3E}">
        <p14:creationId xmlns:p14="http://schemas.microsoft.com/office/powerpoint/2010/main" val="412891194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3443438691"/>
              </p:ext>
            </p:extLst>
          </p:nvPr>
        </p:nvGraphicFramePr>
        <p:xfrm>
          <a:off x="724330" y="1199606"/>
          <a:ext cx="8180050" cy="3592595"/>
        </p:xfrm>
        <a:graphic>
          <a:graphicData uri="http://schemas.openxmlformats.org/drawingml/2006/table">
            <a:tbl>
              <a:tblPr firstRow="1" bandRow="1">
                <a:tableStyleId>{5C22544A-7EE6-4342-B048-85BDC9FD1C3A}</a:tableStyleId>
              </a:tblPr>
              <a:tblGrid>
                <a:gridCol w="3272019">
                  <a:extLst>
                    <a:ext uri="{9D8B030D-6E8A-4147-A177-3AD203B41FA5}">
                      <a16:colId xmlns:a16="http://schemas.microsoft.com/office/drawing/2014/main" val="20000"/>
                    </a:ext>
                  </a:extLst>
                </a:gridCol>
                <a:gridCol w="4908031">
                  <a:extLst>
                    <a:ext uri="{9D8B030D-6E8A-4147-A177-3AD203B41FA5}">
                      <a16:colId xmlns:a16="http://schemas.microsoft.com/office/drawing/2014/main" val="20001"/>
                    </a:ext>
                  </a:extLst>
                </a:gridCol>
              </a:tblGrid>
              <a:tr h="324242">
                <a:tc>
                  <a:txBody>
                    <a:bodyPr/>
                    <a:lstStyle/>
                    <a:p>
                      <a:pPr marL="0" marR="0" lvl="0" indent="0" algn="ctr" rtl="0" eaLnBrk="0" fontAlgn="base" latinLnBrk="0" hangingPunct="0">
                        <a:lnSpc>
                          <a:spcPct val="100000"/>
                        </a:lnSpc>
                        <a:spcBef>
                          <a:spcPts val="0"/>
                        </a:spcBef>
                        <a:spcAft>
                          <a:spcPct val="0"/>
                        </a:spcAft>
                        <a:buClrTx/>
                        <a:buSzPct val="25000"/>
                        <a:buFont typeface="Wingdings" pitchFamily="2" charset="2"/>
                        <a:buNone/>
                      </a:pPr>
                      <a:r>
                        <a:rPr kumimoji="0" lang="en-US" sz="1400" b="1" u="none" strike="noStrike" kern="1200" cap="none" normalizeH="0" baseline="0">
                          <a:ln>
                            <a:noFill/>
                          </a:ln>
                          <a:solidFill>
                            <a:schemeClr val="tx1"/>
                          </a:solidFill>
                          <a:effectLst/>
                          <a:latin typeface="+mn-lt"/>
                          <a:ea typeface="+mn-ea"/>
                          <a:cs typeface="+mn-cs"/>
                        </a:rPr>
                        <a:t>Component</a:t>
                      </a:r>
                      <a:r>
                        <a:rPr lang="en-US" sz="1400" b="1" u="none" strike="noStrike" kern="1200" cap="none" normalizeH="0" baseline="0">
                          <a:ln>
                            <a:noFill/>
                          </a:ln>
                          <a:solidFill>
                            <a:schemeClr val="tx1"/>
                          </a:solidFill>
                          <a:effectLst/>
                          <a:latin typeface="+mn-lt"/>
                          <a:ea typeface="+mn-ea"/>
                          <a:cs typeface="+mn-cs"/>
                        </a:rPr>
                        <a:t> </a:t>
                      </a:r>
                      <a:endParaRPr kumimoji="0" lang="en-US" sz="1400" b="1" u="none" strike="noStrike" kern="1200" cap="none" normalizeH="0" baseline="0">
                        <a:ln>
                          <a:noFill/>
                        </a:ln>
                        <a:solidFill>
                          <a:schemeClr val="tx1"/>
                        </a:solidFill>
                        <a:effectLst/>
                        <a:latin typeface="+mn-lt"/>
                        <a:ea typeface="+mn-ea"/>
                        <a:cs typeface="+mn-cs"/>
                      </a:endParaRP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a:ln>
                            <a:noFill/>
                          </a:ln>
                          <a:solidFill>
                            <a:schemeClr val="tx1"/>
                          </a:solidFill>
                          <a:effectLst/>
                          <a:latin typeface="+mn-lt"/>
                        </a:rPr>
                        <a:t>Description</a:t>
                      </a:r>
                      <a:endParaRPr kumimoji="0" lang="en-US" sz="1400" b="1" i="0" u="none" strike="noStrike" cap="none" normalizeH="0" baseline="0">
                        <a:ln>
                          <a:noFill/>
                        </a:ln>
                        <a:solidFill>
                          <a:schemeClr val="tx1"/>
                        </a:solidFill>
                        <a:effectLst/>
                        <a:latin typeface="+mn-lt"/>
                      </a:endParaRPr>
                    </a:p>
                  </a:txBody>
                  <a:tcPr marT="91440" marB="9144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9067">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kern="1200">
                          <a:solidFill>
                            <a:schemeClr val="dk1"/>
                          </a:solidFill>
                          <a:latin typeface="+mn-lt"/>
                          <a:ea typeface="+mn-ea"/>
                          <a:cs typeface="+mn-cs"/>
                        </a:rPr>
                        <a:t>Bank</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13131"/>
                          </a:solidFill>
                          <a:sym typeface="Arial"/>
                        </a:rPr>
                        <a:t>Created as a party and needs information like country, bank name, address, etc. Bank data validation is done based on country specific requirements</a:t>
                      </a:r>
                      <a:endParaRPr lang="en-US" sz="1200">
                        <a:latin typeface="+mn-lt"/>
                      </a:endParaRP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0722">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a:t>Bank Branch</a:t>
                      </a: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03200" indent="-203200">
                        <a:spcBef>
                          <a:spcPts val="600"/>
                        </a:spcBef>
                        <a:buSzPct val="100000"/>
                        <a:buFont typeface="Arial"/>
                        <a:buChar char="•"/>
                      </a:pPr>
                      <a:r>
                        <a:rPr lang="en-US" sz="1200" kern="1200">
                          <a:solidFill>
                            <a:srgbClr val="313131"/>
                          </a:solidFill>
                          <a:latin typeface="+mn-lt"/>
                          <a:ea typeface="+mn-ea"/>
                          <a:cs typeface="+mn-cs"/>
                        </a:rPr>
                        <a:t>Once bank is created, the next step is creating a branch or branches associated to the bank.</a:t>
                      </a:r>
                    </a:p>
                    <a:p>
                      <a:pPr marL="203200" indent="-203200">
                        <a:spcBef>
                          <a:spcPts val="600"/>
                        </a:spcBef>
                        <a:buSzPct val="100000"/>
                        <a:buFont typeface="Arial"/>
                        <a:buChar char="•"/>
                      </a:pPr>
                      <a:r>
                        <a:rPr lang="en-US" sz="1200" kern="1200">
                          <a:solidFill>
                            <a:srgbClr val="313131"/>
                          </a:solidFill>
                          <a:latin typeface="+mn-lt"/>
                          <a:ea typeface="+mn-ea"/>
                          <a:cs typeface="+mn-cs"/>
                        </a:rPr>
                        <a:t>Needs information like bank, branch name, routing transit number/BIC code, address, contacts, etc. </a:t>
                      </a: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2368473"/>
                  </a:ext>
                </a:extLst>
              </a:tr>
              <a:tr h="1779035">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Arial"/>
                        </a:rPr>
                        <a:t>Bank account</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en-US" sz="1200" b="1" kern="1200">
                        <a:solidFill>
                          <a:schemeClr val="dk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en-US" sz="1200" b="1" i="0" kern="1200">
                        <a:solidFill>
                          <a:schemeClr val="tx1"/>
                        </a:solidFill>
                        <a:effectLst/>
                        <a:latin typeface="+mn-lt"/>
                        <a:ea typeface="+mn-ea"/>
                        <a:cs typeface="Arial" panose="020B0604020202020204" pitchFamily="34" charset="0"/>
                      </a:endParaRP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03200" indent="-203200">
                        <a:spcBef>
                          <a:spcPts val="600"/>
                        </a:spcBef>
                        <a:buSzPct val="100000"/>
                        <a:buFont typeface="Arial"/>
                        <a:buChar char="•"/>
                      </a:pPr>
                      <a:r>
                        <a:rPr lang="en-US" sz="1200" kern="1200">
                          <a:solidFill>
                            <a:srgbClr val="313131"/>
                          </a:solidFill>
                          <a:latin typeface="+mn-lt"/>
                          <a:ea typeface="+mn-ea"/>
                          <a:cs typeface="+mn-cs"/>
                        </a:rPr>
                        <a:t>Under each branch the actual bank accounts are defined.</a:t>
                      </a:r>
                    </a:p>
                    <a:p>
                      <a:pPr marL="203200" indent="-203200">
                        <a:spcBef>
                          <a:spcPts val="600"/>
                        </a:spcBef>
                        <a:buSzPct val="100000"/>
                        <a:buFont typeface="Arial"/>
                        <a:buChar char="•"/>
                      </a:pPr>
                      <a:r>
                        <a:rPr lang="en-US" sz="1200" kern="1200">
                          <a:solidFill>
                            <a:srgbClr val="313131"/>
                          </a:solidFill>
                          <a:latin typeface="+mn-lt"/>
                          <a:ea typeface="+mn-ea"/>
                          <a:cs typeface="+mn-cs"/>
                        </a:rPr>
                        <a:t>Each bank account is associated to a Legal Entity.</a:t>
                      </a:r>
                    </a:p>
                    <a:p>
                      <a:pPr marL="203200" indent="-203200">
                        <a:spcBef>
                          <a:spcPts val="600"/>
                        </a:spcBef>
                        <a:buSzPct val="100000"/>
                        <a:buFont typeface="Arial"/>
                        <a:buChar char="•"/>
                      </a:pPr>
                      <a:r>
                        <a:rPr lang="en-US" sz="1200" kern="1200">
                          <a:solidFill>
                            <a:srgbClr val="313131"/>
                          </a:solidFill>
                          <a:latin typeface="+mn-lt"/>
                          <a:ea typeface="+mn-ea"/>
                          <a:cs typeface="+mn-cs"/>
                        </a:rPr>
                        <a:t>BUs associated to the legal entity are then provisioned access to use the bank account </a:t>
                      </a:r>
                    </a:p>
                    <a:p>
                      <a:pPr marL="203200" indent="-203200">
                        <a:spcBef>
                          <a:spcPts val="600"/>
                        </a:spcBef>
                        <a:buSzPct val="100000"/>
                        <a:buFont typeface="Arial"/>
                        <a:buChar char="•"/>
                      </a:pPr>
                      <a:r>
                        <a:rPr lang="en-US" sz="1200" kern="1200">
                          <a:solidFill>
                            <a:srgbClr val="313131"/>
                          </a:solidFill>
                          <a:latin typeface="+mn-lt"/>
                          <a:ea typeface="+mn-ea"/>
                          <a:cs typeface="+mn-cs"/>
                        </a:rPr>
                        <a:t>Payables need to be specified to determine for the purpose for use of the bank accounts.</a:t>
                      </a:r>
                    </a:p>
                    <a:p>
                      <a:pPr marL="203200" indent="-203200">
                        <a:spcBef>
                          <a:spcPts val="600"/>
                        </a:spcBef>
                        <a:buSzPct val="100000"/>
                        <a:buFont typeface="Arial"/>
                        <a:buChar char="•"/>
                      </a:pPr>
                      <a:r>
                        <a:rPr lang="en-US" sz="1200" kern="1200">
                          <a:solidFill>
                            <a:srgbClr val="313131"/>
                          </a:solidFill>
                          <a:latin typeface="+mn-lt"/>
                          <a:ea typeface="+mn-ea"/>
                          <a:cs typeface="+mn-cs"/>
                        </a:rPr>
                        <a:t>Accounts like Cash, Cash Clearing can be defined on the bank account.</a:t>
                      </a:r>
                    </a:p>
                  </a:txBody>
                  <a:tcPr marL="121920" marR="121920" marT="60960" marB="6096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7735585"/>
                  </a:ext>
                </a:extLst>
              </a:tr>
            </a:tbl>
          </a:graphicData>
        </a:graphic>
      </p:graphicFrame>
      <p:sp>
        <p:nvSpPr>
          <p:cNvPr id="5" name="Text Placeholder 12">
            <a:extLst>
              <a:ext uri="{FF2B5EF4-FFF2-40B4-BE49-F238E27FC236}">
                <a16:creationId xmlns:a16="http://schemas.microsoft.com/office/drawing/2014/main" id="{3C25657C-19D4-4B93-B96C-DACEDD67D364}"/>
              </a:ext>
            </a:extLst>
          </p:cNvPr>
          <p:cNvSpPr txBox="1">
            <a:spLocks/>
          </p:cNvSpPr>
          <p:nvPr/>
        </p:nvSpPr>
        <p:spPr>
          <a:xfrm>
            <a:off x="501650" y="677721"/>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Company needs to define bank and bank branch setup to execute payment process.</a:t>
            </a:r>
          </a:p>
          <a:p>
            <a:endParaRPr lang="en-US">
              <a:cs typeface="Calibri Light"/>
            </a:endParaRPr>
          </a:p>
        </p:txBody>
      </p:sp>
      <p:sp>
        <p:nvSpPr>
          <p:cNvPr id="6" name="Title 9">
            <a:extLst>
              <a:ext uri="{FF2B5EF4-FFF2-40B4-BE49-F238E27FC236}">
                <a16:creationId xmlns:a16="http://schemas.microsoft.com/office/drawing/2014/main" id="{8EFD8275-551B-4DF5-A435-C98C676C2BE1}"/>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Bank and Bank Branch Setup</a:t>
            </a:r>
          </a:p>
        </p:txBody>
      </p:sp>
      <p:grpSp>
        <p:nvGrpSpPr>
          <p:cNvPr id="14" name="Group 13">
            <a:extLst>
              <a:ext uri="{FF2B5EF4-FFF2-40B4-BE49-F238E27FC236}">
                <a16:creationId xmlns:a16="http://schemas.microsoft.com/office/drawing/2014/main" id="{E77505E1-8DB1-4560-A71E-94647B40C48D}"/>
              </a:ext>
            </a:extLst>
          </p:cNvPr>
          <p:cNvGrpSpPr/>
          <p:nvPr/>
        </p:nvGrpSpPr>
        <p:grpSpPr>
          <a:xfrm>
            <a:off x="9465923" y="1769626"/>
            <a:ext cx="2001747" cy="1577083"/>
            <a:chOff x="9578829" y="2881175"/>
            <a:chExt cx="2001747" cy="1577083"/>
          </a:xfrm>
        </p:grpSpPr>
        <p:sp>
          <p:nvSpPr>
            <p:cNvPr id="4" name="Rectangle 3">
              <a:extLst>
                <a:ext uri="{FF2B5EF4-FFF2-40B4-BE49-F238E27FC236}">
                  <a16:creationId xmlns:a16="http://schemas.microsoft.com/office/drawing/2014/main" id="{7FDDA687-E645-EC1C-10EA-1785F7FFDF9D}"/>
                </a:ext>
              </a:extLst>
            </p:cNvPr>
            <p:cNvSpPr/>
            <p:nvPr/>
          </p:nvSpPr>
          <p:spPr bwMode="gray">
            <a:xfrm>
              <a:off x="9578829" y="2995903"/>
              <a:ext cx="2001747" cy="1462355"/>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marL="228600" indent="-228600">
                <a:lnSpc>
                  <a:spcPct val="106000"/>
                </a:lnSpc>
                <a:buAutoNum type="arabicPeriod"/>
              </a:pPr>
              <a:r>
                <a:rPr lang="en-US" sz="1050">
                  <a:solidFill>
                    <a:srgbClr val="000000"/>
                  </a:solidFill>
                  <a:cs typeface="Calibri"/>
                </a:rPr>
                <a:t>Decision on bank and bank branch and accounts need to be created?</a:t>
              </a:r>
              <a:endParaRPr lang="en-US" sz="1050">
                <a:solidFill>
                  <a:srgbClr val="000000"/>
                </a:solidFill>
                <a:ea typeface="Calibri"/>
                <a:cs typeface="Calibri"/>
              </a:endParaRPr>
            </a:p>
          </p:txBody>
        </p:sp>
        <p:sp>
          <p:nvSpPr>
            <p:cNvPr id="8" name="Rectangle 7">
              <a:extLst>
                <a:ext uri="{FF2B5EF4-FFF2-40B4-BE49-F238E27FC236}">
                  <a16:creationId xmlns:a16="http://schemas.microsoft.com/office/drawing/2014/main" id="{999EAD73-08BA-0FBB-1276-BB674D117168}"/>
                </a:ext>
              </a:extLst>
            </p:cNvPr>
            <p:cNvSpPr/>
            <p:nvPr/>
          </p:nvSpPr>
          <p:spPr bwMode="gray">
            <a:xfrm>
              <a:off x="9762907" y="2881175"/>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Key Design Decision</a:t>
              </a:r>
              <a:endParaRPr lang="en-US">
                <a:solidFill>
                  <a:schemeClr val="bg1"/>
                </a:solidFill>
              </a:endParaRPr>
            </a:p>
          </p:txBody>
        </p:sp>
      </p:grpSp>
      <p:grpSp>
        <p:nvGrpSpPr>
          <p:cNvPr id="11" name="Group 10">
            <a:extLst>
              <a:ext uri="{FF2B5EF4-FFF2-40B4-BE49-F238E27FC236}">
                <a16:creationId xmlns:a16="http://schemas.microsoft.com/office/drawing/2014/main" id="{A194F7BF-F839-4BDD-8EDA-2D88A7A2938A}"/>
              </a:ext>
            </a:extLst>
          </p:cNvPr>
          <p:cNvGrpSpPr/>
          <p:nvPr/>
        </p:nvGrpSpPr>
        <p:grpSpPr>
          <a:xfrm>
            <a:off x="1792899" y="4902579"/>
            <a:ext cx="6042912" cy="229456"/>
            <a:chOff x="1726057" y="5386507"/>
            <a:chExt cx="6042912" cy="229456"/>
          </a:xfrm>
        </p:grpSpPr>
        <p:cxnSp>
          <p:nvCxnSpPr>
            <p:cNvPr id="12" name="Straight Arrow Connector 11">
              <a:extLst>
                <a:ext uri="{FF2B5EF4-FFF2-40B4-BE49-F238E27FC236}">
                  <a16:creationId xmlns:a16="http://schemas.microsoft.com/office/drawing/2014/main" id="{195E3F54-C4CE-46EF-8BB7-BF323F048F56}"/>
                </a:ext>
              </a:extLst>
            </p:cNvPr>
            <p:cNvCxnSpPr/>
            <p:nvPr/>
          </p:nvCxnSpPr>
          <p:spPr>
            <a:xfrm>
              <a:off x="1726057" y="5494388"/>
              <a:ext cx="6042912" cy="6847"/>
            </a:xfrm>
            <a:prstGeom prst="straightConnector1">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1ECE013-958C-4434-A3F3-09803CD37A1E}"/>
                </a:ext>
              </a:extLst>
            </p:cNvPr>
            <p:cNvSpPr/>
            <p:nvPr/>
          </p:nvSpPr>
          <p:spPr bwMode="gray">
            <a:xfrm>
              <a:off x="3930719" y="5386507"/>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Leading Practices</a:t>
              </a:r>
              <a:endParaRPr lang="en-US">
                <a:solidFill>
                  <a:schemeClr val="bg1"/>
                </a:solidFill>
              </a:endParaRPr>
            </a:p>
          </p:txBody>
        </p:sp>
      </p:grpSp>
      <p:graphicFrame>
        <p:nvGraphicFramePr>
          <p:cNvPr id="16" name="Content Placeholder 6">
            <a:extLst>
              <a:ext uri="{FF2B5EF4-FFF2-40B4-BE49-F238E27FC236}">
                <a16:creationId xmlns:a16="http://schemas.microsoft.com/office/drawing/2014/main" id="{227C20C8-57CF-09B7-FBFC-303CD58ABA38}"/>
              </a:ext>
            </a:extLst>
          </p:cNvPr>
          <p:cNvGraphicFramePr>
            <a:graphicFrameLocks/>
          </p:cNvGraphicFramePr>
          <p:nvPr>
            <p:extLst>
              <p:ext uri="{D42A27DB-BD31-4B8C-83A1-F6EECF244321}">
                <p14:modId xmlns:p14="http://schemas.microsoft.com/office/powerpoint/2010/main" val="2272407785"/>
              </p:ext>
            </p:extLst>
          </p:nvPr>
        </p:nvGraphicFramePr>
        <p:xfrm>
          <a:off x="700037" y="5202021"/>
          <a:ext cx="10380959" cy="995622"/>
        </p:xfrm>
        <a:graphic>
          <a:graphicData uri="http://schemas.openxmlformats.org/drawingml/2006/table">
            <a:tbl>
              <a:tblPr firstRow="1" bandRow="1">
                <a:tableStyleId>{5C22544A-7EE6-4342-B048-85BDC9FD1C3A}</a:tableStyleId>
              </a:tblPr>
              <a:tblGrid>
                <a:gridCol w="2072455">
                  <a:extLst>
                    <a:ext uri="{9D8B030D-6E8A-4147-A177-3AD203B41FA5}">
                      <a16:colId xmlns:a16="http://schemas.microsoft.com/office/drawing/2014/main" val="20000"/>
                    </a:ext>
                  </a:extLst>
                </a:gridCol>
                <a:gridCol w="8308504">
                  <a:extLst>
                    <a:ext uri="{9D8B030D-6E8A-4147-A177-3AD203B41FA5}">
                      <a16:colId xmlns:a16="http://schemas.microsoft.com/office/drawing/2014/main" val="20002"/>
                    </a:ext>
                  </a:extLst>
                </a:gridCol>
              </a:tblGrid>
              <a:tr h="995622">
                <a:tc>
                  <a:txBody>
                    <a:bodyPr/>
                    <a:lstStyle/>
                    <a:p>
                      <a:pPr lvl="0" algn="ctr">
                        <a:lnSpc>
                          <a:spcPct val="106000"/>
                        </a:lnSpc>
                        <a:buNone/>
                      </a:pPr>
                      <a:r>
                        <a:rPr lang="en-US" sz="1200" b="1">
                          <a:solidFill>
                            <a:schemeClr val="tx1"/>
                          </a:solidFill>
                        </a:rPr>
                        <a:t>Bank</a:t>
                      </a:r>
                    </a:p>
                    <a:p>
                      <a:pPr lvl="0" algn="ctr">
                        <a:lnSpc>
                          <a:spcPct val="106000"/>
                        </a:lnSpc>
                        <a:buNone/>
                      </a:pPr>
                      <a:r>
                        <a:rPr lang="en-US" sz="1200" b="1">
                          <a:solidFill>
                            <a:schemeClr val="tx1"/>
                          </a:solidFill>
                        </a:rPr>
                        <a:t>Bank Branch</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450"/>
                        </a:spcBef>
                        <a:buSzPct val="100000"/>
                        <a:buFont typeface="Arial" panose="020B0604020202020204" pitchFamily="34" charset="0"/>
                        <a:buChar char="•"/>
                      </a:pPr>
                      <a:r>
                        <a:rPr lang="en-US" sz="1200" b="0" kern="1200">
                          <a:solidFill>
                            <a:schemeClr val="dk1"/>
                          </a:solidFill>
                          <a:latin typeface="+mn-lt"/>
                          <a:ea typeface="+mn-ea"/>
                          <a:cs typeface="+mn-cs"/>
                        </a:rPr>
                        <a:t>Supplier bank accounts can be crated at the Supplier, Supplier Address, or Supplier Site Level.  To simplify supplier bank account setups, make sure to include any supplier banks and branches when creating the bank accounts.  This will prevent users from having to request and wait for these setups to be complete before adding supplier bank accounts. </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571490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ea typeface="Open Sans"/>
                <a:cs typeface="Open Sans"/>
              </a:rPr>
              <a:t>Procure To Pay - Payables</a:t>
            </a:r>
            <a:endParaRPr lang="en-US"/>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pPr>
              <a:buClr>
                <a:srgbClr val="FFD100"/>
              </a:buClr>
            </a:pPr>
            <a:r>
              <a:rPr lang="en-US"/>
              <a:t>PERIOD END CLOSE  </a:t>
            </a:r>
          </a:p>
        </p:txBody>
      </p:sp>
    </p:spTree>
    <p:extLst>
      <p:ext uri="{BB962C8B-B14F-4D97-AF65-F5344CB8AC3E}">
        <p14:creationId xmlns:p14="http://schemas.microsoft.com/office/powerpoint/2010/main" val="418754615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3AC96897-C570-49CF-A5CF-1B4B69FC3014}"/>
              </a:ext>
            </a:extLst>
          </p:cNvPr>
          <p:cNvGrpSpPr/>
          <p:nvPr/>
        </p:nvGrpSpPr>
        <p:grpSpPr>
          <a:xfrm>
            <a:off x="2642211" y="892779"/>
            <a:ext cx="6907575" cy="5477722"/>
            <a:chOff x="2113114" y="440675"/>
            <a:chExt cx="6693030" cy="5436822"/>
          </a:xfrm>
        </p:grpSpPr>
        <p:sp>
          <p:nvSpPr>
            <p:cNvPr id="4" name="Rectangle 3">
              <a:extLst>
                <a:ext uri="{FF2B5EF4-FFF2-40B4-BE49-F238E27FC236}">
                  <a16:creationId xmlns:a16="http://schemas.microsoft.com/office/drawing/2014/main" id="{9A0F0C41-0E02-45E0-B51A-64347A62CD13}"/>
                </a:ext>
              </a:extLst>
            </p:cNvPr>
            <p:cNvSpPr/>
            <p:nvPr/>
          </p:nvSpPr>
          <p:spPr bwMode="gray">
            <a:xfrm>
              <a:off x="2978227" y="440675"/>
              <a:ext cx="1213691" cy="528809"/>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Payables</a:t>
              </a:r>
            </a:p>
          </p:txBody>
        </p:sp>
        <p:sp>
          <p:nvSpPr>
            <p:cNvPr id="7" name="Rectangle 6">
              <a:extLst>
                <a:ext uri="{FF2B5EF4-FFF2-40B4-BE49-F238E27FC236}">
                  <a16:creationId xmlns:a16="http://schemas.microsoft.com/office/drawing/2014/main" id="{85393CEA-C852-4A12-8F36-73BD68C87707}"/>
                </a:ext>
              </a:extLst>
            </p:cNvPr>
            <p:cNvSpPr/>
            <p:nvPr/>
          </p:nvSpPr>
          <p:spPr bwMode="gray">
            <a:xfrm>
              <a:off x="5771918" y="440675"/>
              <a:ext cx="1213691" cy="528809"/>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Procurement</a:t>
              </a:r>
            </a:p>
          </p:txBody>
        </p:sp>
        <p:sp>
          <p:nvSpPr>
            <p:cNvPr id="8" name="Rectangle 7">
              <a:extLst>
                <a:ext uri="{FF2B5EF4-FFF2-40B4-BE49-F238E27FC236}">
                  <a16:creationId xmlns:a16="http://schemas.microsoft.com/office/drawing/2014/main" id="{3081B067-7531-4D7A-A5B4-2A64B7181383}"/>
                </a:ext>
              </a:extLst>
            </p:cNvPr>
            <p:cNvSpPr/>
            <p:nvPr/>
          </p:nvSpPr>
          <p:spPr bwMode="gray">
            <a:xfrm>
              <a:off x="5771918" y="1441373"/>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Cost Management</a:t>
              </a:r>
            </a:p>
          </p:txBody>
        </p:sp>
        <p:sp>
          <p:nvSpPr>
            <p:cNvPr id="10" name="Rectangle 9">
              <a:extLst>
                <a:ext uri="{FF2B5EF4-FFF2-40B4-BE49-F238E27FC236}">
                  <a16:creationId xmlns:a16="http://schemas.microsoft.com/office/drawing/2014/main" id="{CE56CEF0-2520-482E-A32D-5B9A4E87D2D3}"/>
                </a:ext>
              </a:extLst>
            </p:cNvPr>
            <p:cNvSpPr/>
            <p:nvPr/>
          </p:nvSpPr>
          <p:spPr bwMode="gray">
            <a:xfrm>
              <a:off x="5771918" y="2442071"/>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Projects</a:t>
              </a:r>
            </a:p>
          </p:txBody>
        </p:sp>
        <p:sp>
          <p:nvSpPr>
            <p:cNvPr id="11" name="Rectangle 10">
              <a:extLst>
                <a:ext uri="{FF2B5EF4-FFF2-40B4-BE49-F238E27FC236}">
                  <a16:creationId xmlns:a16="http://schemas.microsoft.com/office/drawing/2014/main" id="{8EFA8BA5-F99F-4522-B09C-81B265913B03}"/>
                </a:ext>
              </a:extLst>
            </p:cNvPr>
            <p:cNvSpPr/>
            <p:nvPr/>
          </p:nvSpPr>
          <p:spPr bwMode="gray">
            <a:xfrm>
              <a:off x="2113115" y="3442768"/>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Receivables</a:t>
              </a:r>
            </a:p>
          </p:txBody>
        </p:sp>
        <p:sp>
          <p:nvSpPr>
            <p:cNvPr id="12" name="Rectangle 11">
              <a:extLst>
                <a:ext uri="{FF2B5EF4-FFF2-40B4-BE49-F238E27FC236}">
                  <a16:creationId xmlns:a16="http://schemas.microsoft.com/office/drawing/2014/main" id="{52CF257C-2226-45A9-B4A2-2ED429476A55}"/>
                </a:ext>
              </a:extLst>
            </p:cNvPr>
            <p:cNvSpPr/>
            <p:nvPr/>
          </p:nvSpPr>
          <p:spPr bwMode="gray">
            <a:xfrm>
              <a:off x="5771917" y="3442769"/>
              <a:ext cx="1213691" cy="528809"/>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Fixed Assets</a:t>
              </a:r>
            </a:p>
          </p:txBody>
        </p:sp>
        <p:sp>
          <p:nvSpPr>
            <p:cNvPr id="13" name="Rectangle 12">
              <a:extLst>
                <a:ext uri="{FF2B5EF4-FFF2-40B4-BE49-F238E27FC236}">
                  <a16:creationId xmlns:a16="http://schemas.microsoft.com/office/drawing/2014/main" id="{D28993C3-70F6-4A6D-83BD-383C40F22AEA}"/>
                </a:ext>
              </a:extLst>
            </p:cNvPr>
            <p:cNvSpPr/>
            <p:nvPr/>
          </p:nvSpPr>
          <p:spPr bwMode="gray">
            <a:xfrm>
              <a:off x="7592453" y="3442769"/>
              <a:ext cx="1213691" cy="528809"/>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General Ledger</a:t>
              </a:r>
            </a:p>
          </p:txBody>
        </p:sp>
        <p:sp>
          <p:nvSpPr>
            <p:cNvPr id="16" name="Rectangle 15">
              <a:extLst>
                <a:ext uri="{FF2B5EF4-FFF2-40B4-BE49-F238E27FC236}">
                  <a16:creationId xmlns:a16="http://schemas.microsoft.com/office/drawing/2014/main" id="{B6491309-EFFC-466D-BE6A-6F87A608554B}"/>
                </a:ext>
              </a:extLst>
            </p:cNvPr>
            <p:cNvSpPr/>
            <p:nvPr/>
          </p:nvSpPr>
          <p:spPr bwMode="gray">
            <a:xfrm>
              <a:off x="7592452" y="5348688"/>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Cash Management</a:t>
              </a:r>
            </a:p>
          </p:txBody>
        </p:sp>
        <p:cxnSp>
          <p:nvCxnSpPr>
            <p:cNvPr id="17" name="Straight Arrow Connector 16">
              <a:extLst>
                <a:ext uri="{FF2B5EF4-FFF2-40B4-BE49-F238E27FC236}">
                  <a16:creationId xmlns:a16="http://schemas.microsoft.com/office/drawing/2014/main" id="{7D379F56-0D79-442E-A481-84157F046B01}"/>
                </a:ext>
              </a:extLst>
            </p:cNvPr>
            <p:cNvCxnSpPr>
              <a:stCxn id="4" idx="3"/>
              <a:endCxn id="7" idx="1"/>
            </p:cNvCxnSpPr>
            <p:nvPr/>
          </p:nvCxnSpPr>
          <p:spPr>
            <a:xfrm>
              <a:off x="4191918" y="705080"/>
              <a:ext cx="1580000" cy="0"/>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19" name="Straight Arrow Connector 18">
              <a:extLst>
                <a:ext uri="{FF2B5EF4-FFF2-40B4-BE49-F238E27FC236}">
                  <a16:creationId xmlns:a16="http://schemas.microsoft.com/office/drawing/2014/main" id="{D59A677F-2E8E-4A60-BB88-9DEA2E9CB867}"/>
                </a:ext>
              </a:extLst>
            </p:cNvPr>
            <p:cNvCxnSpPr>
              <a:cxnSpLocks/>
              <a:stCxn id="7" idx="2"/>
              <a:endCxn id="8" idx="0"/>
            </p:cNvCxnSpPr>
            <p:nvPr/>
          </p:nvCxnSpPr>
          <p:spPr>
            <a:xfrm>
              <a:off x="6378764" y="969484"/>
              <a:ext cx="0" cy="47188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1" name="Straight Arrow Connector 20">
              <a:extLst>
                <a:ext uri="{FF2B5EF4-FFF2-40B4-BE49-F238E27FC236}">
                  <a16:creationId xmlns:a16="http://schemas.microsoft.com/office/drawing/2014/main" id="{1B49CCB5-DEE1-4709-90C3-69757D6F6CF1}"/>
                </a:ext>
              </a:extLst>
            </p:cNvPr>
            <p:cNvCxnSpPr>
              <a:cxnSpLocks/>
              <a:stCxn id="8" idx="2"/>
              <a:endCxn id="10" idx="0"/>
            </p:cNvCxnSpPr>
            <p:nvPr/>
          </p:nvCxnSpPr>
          <p:spPr>
            <a:xfrm>
              <a:off x="6378764" y="1970182"/>
              <a:ext cx="0" cy="47188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4" name="Straight Arrow Connector 23">
              <a:extLst>
                <a:ext uri="{FF2B5EF4-FFF2-40B4-BE49-F238E27FC236}">
                  <a16:creationId xmlns:a16="http://schemas.microsoft.com/office/drawing/2014/main" id="{77C34218-8691-4FE1-AE03-0473ABD1B72E}"/>
                </a:ext>
              </a:extLst>
            </p:cNvPr>
            <p:cNvCxnSpPr>
              <a:cxnSpLocks/>
              <a:stCxn id="10" idx="2"/>
              <a:endCxn id="12" idx="0"/>
            </p:cNvCxnSpPr>
            <p:nvPr/>
          </p:nvCxnSpPr>
          <p:spPr>
            <a:xfrm flipH="1">
              <a:off x="6378763" y="2970880"/>
              <a:ext cx="1" cy="471889"/>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27" name="Straight Arrow Connector 26">
              <a:extLst>
                <a:ext uri="{FF2B5EF4-FFF2-40B4-BE49-F238E27FC236}">
                  <a16:creationId xmlns:a16="http://schemas.microsoft.com/office/drawing/2014/main" id="{672E71CE-FF83-4AF7-8254-53E9B13B17D5}"/>
                </a:ext>
              </a:extLst>
            </p:cNvPr>
            <p:cNvCxnSpPr>
              <a:cxnSpLocks/>
              <a:stCxn id="12" idx="3"/>
              <a:endCxn id="13" idx="1"/>
            </p:cNvCxnSpPr>
            <p:nvPr/>
          </p:nvCxnSpPr>
          <p:spPr>
            <a:xfrm>
              <a:off x="6985608" y="3707174"/>
              <a:ext cx="606845" cy="0"/>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sp>
          <p:nvSpPr>
            <p:cNvPr id="14" name="Rectangle 13">
              <a:extLst>
                <a:ext uri="{FF2B5EF4-FFF2-40B4-BE49-F238E27FC236}">
                  <a16:creationId xmlns:a16="http://schemas.microsoft.com/office/drawing/2014/main" id="{9D17F7C5-EB75-4DD1-8B50-0C32C6FCA693}"/>
                </a:ext>
              </a:extLst>
            </p:cNvPr>
            <p:cNvSpPr/>
            <p:nvPr/>
          </p:nvSpPr>
          <p:spPr bwMode="gray">
            <a:xfrm>
              <a:off x="2113114" y="4665646"/>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Order Management</a:t>
              </a:r>
            </a:p>
          </p:txBody>
        </p:sp>
        <p:sp>
          <p:nvSpPr>
            <p:cNvPr id="15" name="Rectangle 14">
              <a:extLst>
                <a:ext uri="{FF2B5EF4-FFF2-40B4-BE49-F238E27FC236}">
                  <a16:creationId xmlns:a16="http://schemas.microsoft.com/office/drawing/2014/main" id="{C2D8E053-F9EB-46F5-BCB8-81E16BD87426}"/>
                </a:ext>
              </a:extLst>
            </p:cNvPr>
            <p:cNvSpPr/>
            <p:nvPr/>
          </p:nvSpPr>
          <p:spPr bwMode="gray">
            <a:xfrm>
              <a:off x="5529543" y="4665647"/>
              <a:ext cx="1213691" cy="528809"/>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1400" b="1"/>
                <a:t>Revenue Management</a:t>
              </a:r>
            </a:p>
          </p:txBody>
        </p:sp>
        <p:cxnSp>
          <p:nvCxnSpPr>
            <p:cNvPr id="30" name="Straight Arrow Connector 29">
              <a:extLst>
                <a:ext uri="{FF2B5EF4-FFF2-40B4-BE49-F238E27FC236}">
                  <a16:creationId xmlns:a16="http://schemas.microsoft.com/office/drawing/2014/main" id="{9CA6FB50-191B-4885-ABDC-159A4AF45547}"/>
                </a:ext>
              </a:extLst>
            </p:cNvPr>
            <p:cNvCxnSpPr>
              <a:cxnSpLocks/>
              <a:stCxn id="14" idx="3"/>
              <a:endCxn id="15" idx="1"/>
            </p:cNvCxnSpPr>
            <p:nvPr/>
          </p:nvCxnSpPr>
          <p:spPr>
            <a:xfrm>
              <a:off x="3326805" y="4930051"/>
              <a:ext cx="2202738" cy="1"/>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34" name="Connector: Elbow 33">
              <a:extLst>
                <a:ext uri="{FF2B5EF4-FFF2-40B4-BE49-F238E27FC236}">
                  <a16:creationId xmlns:a16="http://schemas.microsoft.com/office/drawing/2014/main" id="{E93E82E6-780E-4122-9335-417C78245606}"/>
                </a:ext>
              </a:extLst>
            </p:cNvPr>
            <p:cNvCxnSpPr>
              <a:cxnSpLocks/>
              <a:stCxn id="4" idx="3"/>
              <a:endCxn id="8" idx="1"/>
            </p:cNvCxnSpPr>
            <p:nvPr/>
          </p:nvCxnSpPr>
          <p:spPr>
            <a:xfrm>
              <a:off x="4191918" y="705080"/>
              <a:ext cx="1580000" cy="1000698"/>
            </a:xfrm>
            <a:prstGeom prst="bentConnector3">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37" name="Connector: Elbow 36">
              <a:extLst>
                <a:ext uri="{FF2B5EF4-FFF2-40B4-BE49-F238E27FC236}">
                  <a16:creationId xmlns:a16="http://schemas.microsoft.com/office/drawing/2014/main" id="{9AB59277-9358-4094-9C0F-D7EE45988F02}"/>
                </a:ext>
              </a:extLst>
            </p:cNvPr>
            <p:cNvCxnSpPr>
              <a:cxnSpLocks/>
              <a:stCxn id="4" idx="2"/>
              <a:endCxn id="10" idx="1"/>
            </p:cNvCxnSpPr>
            <p:nvPr/>
          </p:nvCxnSpPr>
          <p:spPr>
            <a:xfrm rot="16200000" flipH="1">
              <a:off x="3809999" y="744557"/>
              <a:ext cx="1736992" cy="2186845"/>
            </a:xfrm>
            <a:prstGeom prst="bentConnector2">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39" name="Connector: Elbow 38">
              <a:extLst>
                <a:ext uri="{FF2B5EF4-FFF2-40B4-BE49-F238E27FC236}">
                  <a16:creationId xmlns:a16="http://schemas.microsoft.com/office/drawing/2014/main" id="{1EBB05E3-FA22-4374-875B-29F155D62EAF}"/>
                </a:ext>
              </a:extLst>
            </p:cNvPr>
            <p:cNvCxnSpPr>
              <a:cxnSpLocks/>
              <a:stCxn id="4" idx="2"/>
              <a:endCxn id="12" idx="1"/>
            </p:cNvCxnSpPr>
            <p:nvPr/>
          </p:nvCxnSpPr>
          <p:spPr>
            <a:xfrm rot="16200000" flipH="1">
              <a:off x="3309650" y="1244907"/>
              <a:ext cx="2737690" cy="2186844"/>
            </a:xfrm>
            <a:prstGeom prst="bentConnector2">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42" name="Straight Arrow Connector 41">
              <a:extLst>
                <a:ext uri="{FF2B5EF4-FFF2-40B4-BE49-F238E27FC236}">
                  <a16:creationId xmlns:a16="http://schemas.microsoft.com/office/drawing/2014/main" id="{A11704E0-D010-4922-B722-6F470AAD0FCA}"/>
                </a:ext>
              </a:extLst>
            </p:cNvPr>
            <p:cNvCxnSpPr>
              <a:cxnSpLocks/>
              <a:stCxn id="16" idx="0"/>
              <a:endCxn id="13" idx="2"/>
            </p:cNvCxnSpPr>
            <p:nvPr/>
          </p:nvCxnSpPr>
          <p:spPr>
            <a:xfrm flipV="1">
              <a:off x="8199298" y="3971578"/>
              <a:ext cx="1" cy="137711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4" name="Connector: Elbow 43">
              <a:extLst>
                <a:ext uri="{FF2B5EF4-FFF2-40B4-BE49-F238E27FC236}">
                  <a16:creationId xmlns:a16="http://schemas.microsoft.com/office/drawing/2014/main" id="{DEB80CC0-DBAD-4A97-86E4-59A9D9248B42}"/>
                </a:ext>
              </a:extLst>
            </p:cNvPr>
            <p:cNvCxnSpPr>
              <a:stCxn id="4" idx="1"/>
              <a:endCxn id="16" idx="1"/>
            </p:cNvCxnSpPr>
            <p:nvPr/>
          </p:nvCxnSpPr>
          <p:spPr>
            <a:xfrm rot="10800000" flipH="1" flipV="1">
              <a:off x="2978226" y="705079"/>
              <a:ext cx="4614225" cy="4908013"/>
            </a:xfrm>
            <a:prstGeom prst="bentConnector3">
              <a:avLst>
                <a:gd name="adj1" fmla="val -35515"/>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49" name="Connector: Elbow 48">
              <a:extLst>
                <a:ext uri="{FF2B5EF4-FFF2-40B4-BE49-F238E27FC236}">
                  <a16:creationId xmlns:a16="http://schemas.microsoft.com/office/drawing/2014/main" id="{BBE7CE79-BA2B-4FC9-91A2-4EFE8C4E0CF5}"/>
                </a:ext>
              </a:extLst>
            </p:cNvPr>
            <p:cNvCxnSpPr>
              <a:cxnSpLocks/>
              <a:stCxn id="10" idx="2"/>
              <a:endCxn id="11" idx="0"/>
            </p:cNvCxnSpPr>
            <p:nvPr/>
          </p:nvCxnSpPr>
          <p:spPr>
            <a:xfrm rot="5400000">
              <a:off x="4313419" y="1377423"/>
              <a:ext cx="471888" cy="3658803"/>
            </a:xfrm>
            <a:prstGeom prst="bentConnector3">
              <a:avLst>
                <a:gd name="adj1" fmla="val 50000"/>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52" name="Connector: Elbow 51">
              <a:extLst>
                <a:ext uri="{FF2B5EF4-FFF2-40B4-BE49-F238E27FC236}">
                  <a16:creationId xmlns:a16="http://schemas.microsoft.com/office/drawing/2014/main" id="{D6981DF9-6D57-4DED-B23A-076D7511B1D2}"/>
                </a:ext>
              </a:extLst>
            </p:cNvPr>
            <p:cNvCxnSpPr>
              <a:cxnSpLocks/>
              <a:stCxn id="15" idx="0"/>
              <a:endCxn id="13" idx="2"/>
            </p:cNvCxnSpPr>
            <p:nvPr/>
          </p:nvCxnSpPr>
          <p:spPr>
            <a:xfrm rot="5400000" flipH="1" flipV="1">
              <a:off x="6820810" y="3287158"/>
              <a:ext cx="694069" cy="2062910"/>
            </a:xfrm>
            <a:prstGeom prst="bentConnector3">
              <a:avLst>
                <a:gd name="adj1" fmla="val 50000"/>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57" name="Straight Arrow Connector 56">
              <a:extLst>
                <a:ext uri="{FF2B5EF4-FFF2-40B4-BE49-F238E27FC236}">
                  <a16:creationId xmlns:a16="http://schemas.microsoft.com/office/drawing/2014/main" id="{AE359BC4-0A44-40F4-9E73-4C680F01B484}"/>
                </a:ext>
              </a:extLst>
            </p:cNvPr>
            <p:cNvCxnSpPr>
              <a:cxnSpLocks/>
              <a:stCxn id="14" idx="0"/>
              <a:endCxn id="11" idx="2"/>
            </p:cNvCxnSpPr>
            <p:nvPr/>
          </p:nvCxnSpPr>
          <p:spPr>
            <a:xfrm flipV="1">
              <a:off x="2719960" y="3971577"/>
              <a:ext cx="1" cy="694069"/>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68" name="Connector: Elbow 67">
              <a:extLst>
                <a:ext uri="{FF2B5EF4-FFF2-40B4-BE49-F238E27FC236}">
                  <a16:creationId xmlns:a16="http://schemas.microsoft.com/office/drawing/2014/main" id="{92FB5644-F34B-4AB7-9871-D3E5DFAD5CF7}"/>
                </a:ext>
              </a:extLst>
            </p:cNvPr>
            <p:cNvCxnSpPr>
              <a:cxnSpLocks/>
              <a:stCxn id="11" idx="2"/>
            </p:cNvCxnSpPr>
            <p:nvPr/>
          </p:nvCxnSpPr>
          <p:spPr>
            <a:xfrm rot="16200000" flipH="1">
              <a:off x="5367222" y="1324314"/>
              <a:ext cx="184816" cy="5479339"/>
            </a:xfrm>
            <a:prstGeom prst="bentConnector2">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79" name="Straight Arrow Connector 78">
              <a:extLst>
                <a:ext uri="{FF2B5EF4-FFF2-40B4-BE49-F238E27FC236}">
                  <a16:creationId xmlns:a16="http://schemas.microsoft.com/office/drawing/2014/main" id="{16EB5B4F-FEA8-4FBB-883C-795AB11BF33E}"/>
                </a:ext>
              </a:extLst>
            </p:cNvPr>
            <p:cNvCxnSpPr>
              <a:cxnSpLocks/>
            </p:cNvCxnSpPr>
            <p:nvPr/>
          </p:nvCxnSpPr>
          <p:spPr>
            <a:xfrm>
              <a:off x="5814146" y="4193757"/>
              <a:ext cx="0" cy="471889"/>
            </a:xfrm>
            <a:prstGeom prst="straightConnector1">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cxnSp>
          <p:nvCxnSpPr>
            <p:cNvPr id="22" name="Connector: Elbow 21">
              <a:extLst>
                <a:ext uri="{FF2B5EF4-FFF2-40B4-BE49-F238E27FC236}">
                  <a16:creationId xmlns:a16="http://schemas.microsoft.com/office/drawing/2014/main" id="{260E8E35-F83A-4552-8C14-60722C64F2DF}"/>
                </a:ext>
              </a:extLst>
            </p:cNvPr>
            <p:cNvCxnSpPr>
              <a:cxnSpLocks/>
            </p:cNvCxnSpPr>
            <p:nvPr/>
          </p:nvCxnSpPr>
          <p:spPr>
            <a:xfrm rot="10800000" flipH="1" flipV="1">
              <a:off x="2113115" y="3732666"/>
              <a:ext cx="5479336" cy="1735160"/>
            </a:xfrm>
            <a:prstGeom prst="bentConnector3">
              <a:avLst>
                <a:gd name="adj1" fmla="val -8595"/>
              </a:avLst>
            </a:prstGeom>
            <a:ln>
              <a:solidFill>
                <a:schemeClr val="tx1">
                  <a:lumMod val="75000"/>
                  <a:lumOff val="25000"/>
                </a:schemeClr>
              </a:solidFill>
              <a:tailEnd type="triangle"/>
            </a:ln>
          </p:spPr>
          <p:style>
            <a:lnRef idx="2">
              <a:schemeClr val="dk1"/>
            </a:lnRef>
            <a:fillRef idx="0">
              <a:schemeClr val="dk1"/>
            </a:fillRef>
            <a:effectRef idx="1">
              <a:schemeClr val="dk1"/>
            </a:effectRef>
            <a:fontRef idx="minor">
              <a:schemeClr val="tx1"/>
            </a:fontRef>
          </p:style>
        </p:cxnSp>
      </p:grpSp>
      <p:grpSp>
        <p:nvGrpSpPr>
          <p:cNvPr id="5" name="Group 4">
            <a:extLst>
              <a:ext uri="{FF2B5EF4-FFF2-40B4-BE49-F238E27FC236}">
                <a16:creationId xmlns:a16="http://schemas.microsoft.com/office/drawing/2014/main" id="{A151BF3E-7B05-44EE-BBF6-31707E80A615}"/>
              </a:ext>
            </a:extLst>
          </p:cNvPr>
          <p:cNvGrpSpPr/>
          <p:nvPr/>
        </p:nvGrpSpPr>
        <p:grpSpPr>
          <a:xfrm>
            <a:off x="10146536" y="4528113"/>
            <a:ext cx="1644048" cy="1891718"/>
            <a:chOff x="10300770" y="4561163"/>
            <a:chExt cx="1622017" cy="1263755"/>
          </a:xfrm>
        </p:grpSpPr>
        <p:grpSp>
          <p:nvGrpSpPr>
            <p:cNvPr id="2" name="Group 1">
              <a:extLst>
                <a:ext uri="{FF2B5EF4-FFF2-40B4-BE49-F238E27FC236}">
                  <a16:creationId xmlns:a16="http://schemas.microsoft.com/office/drawing/2014/main" id="{952C4B57-12D0-46B9-B513-D70E0F7BD4AD}"/>
                </a:ext>
              </a:extLst>
            </p:cNvPr>
            <p:cNvGrpSpPr/>
            <p:nvPr/>
          </p:nvGrpSpPr>
          <p:grpSpPr>
            <a:xfrm>
              <a:off x="10300770" y="4633537"/>
              <a:ext cx="1622017" cy="1072595"/>
              <a:chOff x="10201118" y="4602864"/>
              <a:chExt cx="1622017" cy="1072595"/>
            </a:xfrm>
          </p:grpSpPr>
          <p:sp>
            <p:nvSpPr>
              <p:cNvPr id="29" name="TextBox 28">
                <a:extLst>
                  <a:ext uri="{FF2B5EF4-FFF2-40B4-BE49-F238E27FC236}">
                    <a16:creationId xmlns:a16="http://schemas.microsoft.com/office/drawing/2014/main" id="{9FA9D2B8-DCB5-4BF9-A06D-786ED2614B03}"/>
                  </a:ext>
                </a:extLst>
              </p:cNvPr>
              <p:cNvSpPr txBox="1"/>
              <p:nvPr/>
            </p:nvSpPr>
            <p:spPr>
              <a:xfrm>
                <a:off x="10201118" y="4602864"/>
                <a:ext cx="1622017" cy="215444"/>
              </a:xfrm>
              <a:prstGeom prst="rect">
                <a:avLst/>
              </a:prstGeom>
              <a:noFill/>
            </p:spPr>
            <p:txBody>
              <a:bodyPr wrap="square" lIns="0" tIns="0" rIns="0" bIns="0" rtlCol="0">
                <a:spAutoFit/>
              </a:bodyPr>
              <a:lstStyle/>
              <a:p>
                <a:pPr algn="ctr">
                  <a:spcBef>
                    <a:spcPts val="600"/>
                  </a:spcBef>
                  <a:buSzPct val="100000"/>
                </a:pPr>
                <a:r>
                  <a:rPr lang="en-US" sz="1400" b="1">
                    <a:solidFill>
                      <a:srgbClr val="313131"/>
                    </a:solidFill>
                  </a:rPr>
                  <a:t>Legend</a:t>
                </a:r>
              </a:p>
            </p:txBody>
          </p:sp>
          <p:sp>
            <p:nvSpPr>
              <p:cNvPr id="45" name="Rectangle 44">
                <a:extLst>
                  <a:ext uri="{FF2B5EF4-FFF2-40B4-BE49-F238E27FC236}">
                    <a16:creationId xmlns:a16="http://schemas.microsoft.com/office/drawing/2014/main" id="{7F1A552B-DE44-4E3B-AF28-F7BBCA60457A}"/>
                  </a:ext>
                </a:extLst>
              </p:cNvPr>
              <p:cNvSpPr/>
              <p:nvPr/>
            </p:nvSpPr>
            <p:spPr bwMode="gray">
              <a:xfrm>
                <a:off x="10536448" y="4736443"/>
                <a:ext cx="951356" cy="391598"/>
              </a:xfrm>
              <a:prstGeom prst="rect">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a:t>Module in Scope for period end</a:t>
                </a:r>
              </a:p>
            </p:txBody>
          </p:sp>
          <p:sp>
            <p:nvSpPr>
              <p:cNvPr id="47" name="Rectangle 46">
                <a:extLst>
                  <a:ext uri="{FF2B5EF4-FFF2-40B4-BE49-F238E27FC236}">
                    <a16:creationId xmlns:a16="http://schemas.microsoft.com/office/drawing/2014/main" id="{BC099FE2-DBEF-4181-8EC0-C5781FF2AAE2}"/>
                  </a:ext>
                </a:extLst>
              </p:cNvPr>
              <p:cNvSpPr/>
              <p:nvPr/>
            </p:nvSpPr>
            <p:spPr bwMode="gray">
              <a:xfrm>
                <a:off x="10528212" y="5171498"/>
                <a:ext cx="951358" cy="503961"/>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endParaRPr lang="en-US" sz="1050" b="1"/>
              </a:p>
              <a:p>
                <a:pPr algn="ctr">
                  <a:lnSpc>
                    <a:spcPct val="106000"/>
                  </a:lnSpc>
                </a:pPr>
                <a:r>
                  <a:rPr lang="en-US" sz="1050" b="1"/>
                  <a:t>Module out of Scope for period end</a:t>
                </a:r>
              </a:p>
              <a:p>
                <a:pPr algn="ctr">
                  <a:lnSpc>
                    <a:spcPct val="106000"/>
                  </a:lnSpc>
                </a:pPr>
                <a:endParaRPr lang="en-US" sz="1050" b="1"/>
              </a:p>
            </p:txBody>
          </p:sp>
        </p:grpSp>
        <p:sp>
          <p:nvSpPr>
            <p:cNvPr id="3" name="Rectangle 2">
              <a:extLst>
                <a:ext uri="{FF2B5EF4-FFF2-40B4-BE49-F238E27FC236}">
                  <a16:creationId xmlns:a16="http://schemas.microsoft.com/office/drawing/2014/main" id="{5F0E28AA-EB95-49C8-81DC-9D6A7341BABF}"/>
                </a:ext>
              </a:extLst>
            </p:cNvPr>
            <p:cNvSpPr/>
            <p:nvPr/>
          </p:nvSpPr>
          <p:spPr bwMode="gray">
            <a:xfrm>
              <a:off x="10477041" y="4561163"/>
              <a:ext cx="1252596" cy="1263755"/>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38" name="TextBox 37">
            <a:extLst>
              <a:ext uri="{FF2B5EF4-FFF2-40B4-BE49-F238E27FC236}">
                <a16:creationId xmlns:a16="http://schemas.microsoft.com/office/drawing/2014/main" id="{1527763B-D3F2-411D-87FC-F5C28618A7AB}"/>
              </a:ext>
            </a:extLst>
          </p:cNvPr>
          <p:cNvSpPr txBox="1"/>
          <p:nvPr/>
        </p:nvSpPr>
        <p:spPr>
          <a:xfrm>
            <a:off x="451132" y="38853"/>
            <a:ext cx="7846057" cy="373500"/>
          </a:xfrm>
          <a:prstGeom prst="rect">
            <a:avLst/>
          </a:prstGeom>
          <a:noFill/>
        </p:spPr>
        <p:txBody>
          <a:bodyPr wrap="square">
            <a:spAutoFit/>
          </a:bodyPr>
          <a:lstStyle/>
          <a:p>
            <a:pPr algn="ctr">
              <a:lnSpc>
                <a:spcPct val="106000"/>
              </a:lnSpc>
              <a:buFont typeface="Wingdings 2" pitchFamily="18" charset="2"/>
              <a:buNone/>
            </a:pPr>
            <a:r>
              <a:rPr lang="en-US" sz="1800" b="1"/>
              <a:t>Module in Scope and dependency for period end activity in Oracle</a:t>
            </a:r>
          </a:p>
        </p:txBody>
      </p:sp>
    </p:spTree>
    <p:extLst>
      <p:ext uri="{BB962C8B-B14F-4D97-AF65-F5344CB8AC3E}">
        <p14:creationId xmlns:p14="http://schemas.microsoft.com/office/powerpoint/2010/main" val="5527392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a:extLst>
              <a:ext uri="{FF2B5EF4-FFF2-40B4-BE49-F238E27FC236}">
                <a16:creationId xmlns:a16="http://schemas.microsoft.com/office/drawing/2014/main" id="{FC2A170C-4DB6-4DDA-8F68-4624E1827B9F}"/>
              </a:ext>
            </a:extLst>
          </p:cNvPr>
          <p:cNvSpPr txBox="1">
            <a:spLocks/>
          </p:cNvSpPr>
          <p:nvPr/>
        </p:nvSpPr>
        <p:spPr bwMode="gray">
          <a:xfrm>
            <a:off x="501650" y="262416"/>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Payable Period Close</a:t>
            </a:r>
          </a:p>
        </p:txBody>
      </p:sp>
      <p:sp>
        <p:nvSpPr>
          <p:cNvPr id="3" name="Text Placeholder 2">
            <a:extLst>
              <a:ext uri="{FF2B5EF4-FFF2-40B4-BE49-F238E27FC236}">
                <a16:creationId xmlns:a16="http://schemas.microsoft.com/office/drawing/2014/main" id="{0ACDAAA1-58A0-4A1F-AB0C-44C5DAA47DFF}"/>
              </a:ext>
            </a:extLst>
          </p:cNvPr>
          <p:cNvSpPr>
            <a:spLocks noGrp="1"/>
          </p:cNvSpPr>
          <p:nvPr>
            <p:ph type="body" sz="quarter" idx="13"/>
          </p:nvPr>
        </p:nvSpPr>
        <p:spPr>
          <a:xfrm>
            <a:off x="501650" y="651600"/>
            <a:ext cx="10739507" cy="492443"/>
          </a:xfrm>
        </p:spPr>
        <p:txBody>
          <a:bodyPr vert="horz" lIns="0" tIns="0" rIns="0" bIns="0" rtlCol="0" anchor="t">
            <a:noAutofit/>
          </a:bodyPr>
          <a:lstStyle/>
          <a:p>
            <a:pPr>
              <a:spcAft>
                <a:spcPts val="0"/>
              </a:spcAft>
            </a:pPr>
            <a:r>
              <a:rPr lang="en-US" sz="1800">
                <a:cs typeface="Calibri Light"/>
              </a:rPr>
              <a:t>Oracle prescribes </a:t>
            </a:r>
            <a:r>
              <a:rPr lang="en-US">
                <a:cs typeface="Calibri Light"/>
              </a:rPr>
              <a:t>a sequence </a:t>
            </a:r>
            <a:r>
              <a:rPr lang="en-US" sz="1800">
                <a:cs typeface="Calibri Light"/>
              </a:rPr>
              <a:t>for closing various sub-ledger periods. Subledgers must be closed before the General Ledger can be closed.</a:t>
            </a:r>
            <a:r>
              <a:rPr lang="en-US">
                <a:cs typeface="Calibri Light"/>
              </a:rPr>
              <a:t> </a:t>
            </a:r>
            <a:endParaRPr lang="en-US" sz="1800"/>
          </a:p>
          <a:p>
            <a:endParaRPr lang="en-US" sz="1800" b="1"/>
          </a:p>
        </p:txBody>
      </p:sp>
      <p:grpSp>
        <p:nvGrpSpPr>
          <p:cNvPr id="11" name="Group 10">
            <a:extLst>
              <a:ext uri="{FF2B5EF4-FFF2-40B4-BE49-F238E27FC236}">
                <a16:creationId xmlns:a16="http://schemas.microsoft.com/office/drawing/2014/main" id="{C7162F3D-8900-48B3-9ECE-35EB696D7E93}"/>
              </a:ext>
            </a:extLst>
          </p:cNvPr>
          <p:cNvGrpSpPr/>
          <p:nvPr/>
        </p:nvGrpSpPr>
        <p:grpSpPr>
          <a:xfrm>
            <a:off x="9434405" y="1586076"/>
            <a:ext cx="2001747" cy="1324019"/>
            <a:chOff x="9534416" y="3910171"/>
            <a:chExt cx="2001747" cy="1324019"/>
          </a:xfrm>
        </p:grpSpPr>
        <p:sp>
          <p:nvSpPr>
            <p:cNvPr id="12" name="Rectangle 11">
              <a:extLst>
                <a:ext uri="{FF2B5EF4-FFF2-40B4-BE49-F238E27FC236}">
                  <a16:creationId xmlns:a16="http://schemas.microsoft.com/office/drawing/2014/main" id="{C30DE4ED-05D8-450A-82B9-66388C9ACCDF}"/>
                </a:ext>
              </a:extLst>
            </p:cNvPr>
            <p:cNvSpPr/>
            <p:nvPr/>
          </p:nvSpPr>
          <p:spPr bwMode="gray">
            <a:xfrm>
              <a:off x="9534416" y="4013882"/>
              <a:ext cx="2001747" cy="1220308"/>
            </a:xfrm>
            <a:prstGeom prst="rect">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pPr>
              <a:endParaRPr lang="en-US" sz="1050" b="1">
                <a:solidFill>
                  <a:srgbClr val="000000"/>
                </a:solidFill>
                <a:cs typeface="Calibri"/>
              </a:endParaRPr>
            </a:p>
            <a:p>
              <a:pPr>
                <a:lnSpc>
                  <a:spcPct val="106000"/>
                </a:lnSpc>
              </a:pPr>
              <a:r>
                <a:rPr lang="en-US" sz="1050">
                  <a:solidFill>
                    <a:srgbClr val="000000"/>
                  </a:solidFill>
                  <a:cs typeface="Calibri"/>
                </a:rPr>
                <a:t>1. Month end process requirement.</a:t>
              </a:r>
            </a:p>
          </p:txBody>
        </p:sp>
        <p:sp>
          <p:nvSpPr>
            <p:cNvPr id="13" name="Rectangle 12">
              <a:extLst>
                <a:ext uri="{FF2B5EF4-FFF2-40B4-BE49-F238E27FC236}">
                  <a16:creationId xmlns:a16="http://schemas.microsoft.com/office/drawing/2014/main" id="{C96D4A0F-C26D-4744-8648-35EEF09BB2E0}"/>
                </a:ext>
              </a:extLst>
            </p:cNvPr>
            <p:cNvSpPr/>
            <p:nvPr/>
          </p:nvSpPr>
          <p:spPr bwMode="gray">
            <a:xfrm>
              <a:off x="9724234" y="3910171"/>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Key Design Decision</a:t>
              </a:r>
              <a:endParaRPr lang="en-US">
                <a:solidFill>
                  <a:schemeClr val="bg1"/>
                </a:solidFill>
              </a:endParaRPr>
            </a:p>
          </p:txBody>
        </p:sp>
      </p:grpSp>
      <p:grpSp>
        <p:nvGrpSpPr>
          <p:cNvPr id="4" name="Group 3">
            <a:extLst>
              <a:ext uri="{FF2B5EF4-FFF2-40B4-BE49-F238E27FC236}">
                <a16:creationId xmlns:a16="http://schemas.microsoft.com/office/drawing/2014/main" id="{00C33101-B747-4A3C-9A07-56973317DCEF}"/>
              </a:ext>
            </a:extLst>
          </p:cNvPr>
          <p:cNvGrpSpPr/>
          <p:nvPr/>
        </p:nvGrpSpPr>
        <p:grpSpPr>
          <a:xfrm>
            <a:off x="471700" y="3698329"/>
            <a:ext cx="8344895" cy="229456"/>
            <a:chOff x="501650" y="3497333"/>
            <a:chExt cx="8344895" cy="229456"/>
          </a:xfrm>
        </p:grpSpPr>
        <p:cxnSp>
          <p:nvCxnSpPr>
            <p:cNvPr id="14" name="Straight Arrow Connector 13">
              <a:extLst>
                <a:ext uri="{FF2B5EF4-FFF2-40B4-BE49-F238E27FC236}">
                  <a16:creationId xmlns:a16="http://schemas.microsoft.com/office/drawing/2014/main" id="{E228C77A-8D24-4BBF-A46E-90E8C47DFE6B}"/>
                </a:ext>
              </a:extLst>
            </p:cNvPr>
            <p:cNvCxnSpPr>
              <a:cxnSpLocks/>
            </p:cNvCxnSpPr>
            <p:nvPr/>
          </p:nvCxnSpPr>
          <p:spPr>
            <a:xfrm>
              <a:off x="501650" y="3571253"/>
              <a:ext cx="8344895" cy="38360"/>
            </a:xfrm>
            <a:prstGeom prst="straightConnector1">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FC53AAC-21B3-4C77-AE67-6A25849B555B}"/>
                </a:ext>
              </a:extLst>
            </p:cNvPr>
            <p:cNvSpPr/>
            <p:nvPr/>
          </p:nvSpPr>
          <p:spPr bwMode="gray">
            <a:xfrm>
              <a:off x="3857302" y="3497333"/>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Leading Practice</a:t>
              </a:r>
              <a:endParaRPr lang="en-US">
                <a:solidFill>
                  <a:schemeClr val="bg1"/>
                </a:solidFill>
              </a:endParaRPr>
            </a:p>
          </p:txBody>
        </p:sp>
      </p:grpSp>
      <p:sp>
        <p:nvSpPr>
          <p:cNvPr id="17" name="TextBox 16">
            <a:extLst>
              <a:ext uri="{FF2B5EF4-FFF2-40B4-BE49-F238E27FC236}">
                <a16:creationId xmlns:a16="http://schemas.microsoft.com/office/drawing/2014/main" id="{4BE8BCB2-C327-4FE7-9CAE-5BD227C14160}"/>
              </a:ext>
            </a:extLst>
          </p:cNvPr>
          <p:cNvSpPr txBox="1"/>
          <p:nvPr/>
        </p:nvSpPr>
        <p:spPr>
          <a:xfrm>
            <a:off x="503791" y="3950233"/>
            <a:ext cx="8374846" cy="2380139"/>
          </a:xfrm>
          <a:prstGeom prst="rect">
            <a:avLst/>
          </a:prstGeom>
          <a:noFill/>
        </p:spPr>
        <p:txBody>
          <a:bodyPr wrap="square" lIns="91440" tIns="45720" rIns="91440" bIns="45720" anchor="t">
            <a:spAutoFit/>
          </a:bodyPr>
          <a:lstStyle/>
          <a:p>
            <a:pPr>
              <a:spcBef>
                <a:spcPct val="0"/>
              </a:spcBef>
              <a:spcAft>
                <a:spcPts val="450"/>
              </a:spcAft>
            </a:pPr>
            <a:r>
              <a:rPr lang="en-US" sz="1200" b="1">
                <a:latin typeface="+mj-lt"/>
                <a:cs typeface="Calibri Light"/>
              </a:rPr>
              <a:t>Oracle prescribes a sequence for closing various sub-ledger periods. Subledgers must be closed before the General Ledger can be closed. </a:t>
            </a:r>
          </a:p>
          <a:p>
            <a:pPr marL="203200" indent="-203200">
              <a:spcBef>
                <a:spcPts val="600"/>
              </a:spcBef>
              <a:spcAft>
                <a:spcPts val="450"/>
              </a:spcAft>
              <a:buSzPct val="100000"/>
              <a:buFont typeface="Arial"/>
              <a:buChar char="•"/>
            </a:pPr>
            <a:r>
              <a:rPr lang="en-US" sz="1200">
                <a:solidFill>
                  <a:srgbClr val="313131"/>
                </a:solidFill>
              </a:rPr>
              <a:t>Close Payables before closing Procurement to take in to account the purchasing accruals at period end to accrue expenses on un-invoiced receipts.</a:t>
            </a:r>
            <a:endParaRPr lang="en-US" sz="1200">
              <a:solidFill>
                <a:srgbClr val="313131"/>
              </a:solidFill>
              <a:cs typeface="Calibri"/>
            </a:endParaRPr>
          </a:p>
          <a:p>
            <a:pPr marL="203200" indent="-203200">
              <a:spcBef>
                <a:spcPts val="600"/>
              </a:spcBef>
              <a:spcAft>
                <a:spcPts val="450"/>
              </a:spcAft>
              <a:buSzPct val="100000"/>
              <a:buFont typeface="Arial"/>
              <a:buChar char="•"/>
            </a:pPr>
            <a:r>
              <a:rPr lang="en-US" sz="1200">
                <a:solidFill>
                  <a:srgbClr val="313131"/>
                </a:solidFill>
              </a:rPr>
              <a:t>Close Payables before closing Inventory to ensure the un-invoiced accrual entry is accurate. </a:t>
            </a:r>
            <a:endParaRPr lang="en-US" sz="1200">
              <a:solidFill>
                <a:srgbClr val="313131"/>
              </a:solidFill>
              <a:cs typeface="Calibri"/>
            </a:endParaRPr>
          </a:p>
          <a:p>
            <a:pPr marL="203200" indent="-203200">
              <a:spcBef>
                <a:spcPts val="600"/>
              </a:spcBef>
              <a:spcAft>
                <a:spcPts val="450"/>
              </a:spcAft>
              <a:buSzPct val="100000"/>
              <a:buFont typeface="Arial"/>
              <a:buChar char="•"/>
            </a:pPr>
            <a:r>
              <a:rPr lang="en-US" sz="1200">
                <a:solidFill>
                  <a:srgbClr val="313131"/>
                </a:solidFill>
              </a:rPr>
              <a:t>Close Payables before closing Fixed Assets to ensure invoices are completed and capital invoice line distributions are transferred from Payables to Fixed Assets. </a:t>
            </a:r>
            <a:endParaRPr lang="en-US" sz="1200">
              <a:solidFill>
                <a:srgbClr val="313131"/>
              </a:solidFill>
              <a:cs typeface="Calibri"/>
            </a:endParaRPr>
          </a:p>
          <a:p>
            <a:pPr marL="203200" indent="-203200">
              <a:spcBef>
                <a:spcPts val="600"/>
              </a:spcBef>
              <a:spcAft>
                <a:spcPts val="450"/>
              </a:spcAft>
              <a:buSzPct val="100000"/>
              <a:buFont typeface="Arial"/>
              <a:buChar char="•"/>
            </a:pPr>
            <a:r>
              <a:rPr lang="en-US" sz="1200">
                <a:solidFill>
                  <a:srgbClr val="313131"/>
                </a:solidFill>
              </a:rPr>
              <a:t>Close Procurement before closing Inventory to allow miscellaneous transaction corrections in Inventory. Close all subledger applications before closing General Ledger.</a:t>
            </a:r>
            <a:endParaRPr lang="en-US" sz="1200">
              <a:solidFill>
                <a:srgbClr val="313131"/>
              </a:solidFill>
              <a:cs typeface="Calibri"/>
            </a:endParaRPr>
          </a:p>
        </p:txBody>
      </p:sp>
      <p:sp>
        <p:nvSpPr>
          <p:cNvPr id="5" name="Rectangle 4">
            <a:extLst>
              <a:ext uri="{FF2B5EF4-FFF2-40B4-BE49-F238E27FC236}">
                <a16:creationId xmlns:a16="http://schemas.microsoft.com/office/drawing/2014/main" id="{5ECEF4C3-54F3-FF3C-1C47-E30487756C87}"/>
              </a:ext>
            </a:extLst>
          </p:cNvPr>
          <p:cNvSpPr/>
          <p:nvPr/>
        </p:nvSpPr>
        <p:spPr bwMode="gray">
          <a:xfrm>
            <a:off x="502024" y="1331259"/>
            <a:ext cx="1174376" cy="83371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1000">
                <a:solidFill>
                  <a:schemeClr val="bg1"/>
                </a:solidFill>
                <a:ea typeface="Calibri"/>
                <a:cs typeface="Calibri"/>
              </a:rPr>
              <a:t>Import Payables Invoices</a:t>
            </a:r>
            <a:endParaRPr lang="en-US" sz="800" b="1">
              <a:solidFill>
                <a:schemeClr val="bg1"/>
              </a:solidFill>
              <a:ea typeface="Calibri"/>
              <a:cs typeface="Calibri"/>
            </a:endParaRPr>
          </a:p>
        </p:txBody>
      </p:sp>
      <p:sp>
        <p:nvSpPr>
          <p:cNvPr id="7" name="Rectangle 6">
            <a:extLst>
              <a:ext uri="{FF2B5EF4-FFF2-40B4-BE49-F238E27FC236}">
                <a16:creationId xmlns:a16="http://schemas.microsoft.com/office/drawing/2014/main" id="{6920EE2A-7A02-AE4C-3A62-B315C48CC38D}"/>
              </a:ext>
            </a:extLst>
          </p:cNvPr>
          <p:cNvSpPr/>
          <p:nvPr/>
        </p:nvSpPr>
        <p:spPr bwMode="gray">
          <a:xfrm>
            <a:off x="1954306" y="1331259"/>
            <a:ext cx="1174376" cy="83371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1000">
                <a:solidFill>
                  <a:schemeClr val="bg1"/>
                </a:solidFill>
                <a:ea typeface="Calibri"/>
                <a:cs typeface="Calibri"/>
              </a:rPr>
              <a:t>Complete,  Approve &amp; Account Invoices/ Payments</a:t>
            </a:r>
            <a:endParaRPr lang="en-US">
              <a:solidFill>
                <a:schemeClr val="bg1"/>
              </a:solidFill>
            </a:endParaRPr>
          </a:p>
        </p:txBody>
      </p:sp>
      <p:sp>
        <p:nvSpPr>
          <p:cNvPr id="8" name="Rectangle 7">
            <a:extLst>
              <a:ext uri="{FF2B5EF4-FFF2-40B4-BE49-F238E27FC236}">
                <a16:creationId xmlns:a16="http://schemas.microsoft.com/office/drawing/2014/main" id="{419FDF49-1C87-CC71-93A3-E0D949264ABB}"/>
              </a:ext>
            </a:extLst>
          </p:cNvPr>
          <p:cNvSpPr/>
          <p:nvPr/>
        </p:nvSpPr>
        <p:spPr bwMode="gray">
          <a:xfrm>
            <a:off x="3388659" y="2496671"/>
            <a:ext cx="1174376" cy="83371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1000">
                <a:solidFill>
                  <a:schemeClr val="bg1"/>
                </a:solidFill>
                <a:ea typeface="Calibri"/>
                <a:cs typeface="Calibri"/>
              </a:rPr>
              <a:t>Reconcile Payments</a:t>
            </a:r>
            <a:endParaRPr lang="en-US">
              <a:solidFill>
                <a:schemeClr val="bg1"/>
              </a:solidFill>
            </a:endParaRPr>
          </a:p>
        </p:txBody>
      </p:sp>
      <p:sp>
        <p:nvSpPr>
          <p:cNvPr id="9" name="Rectangle 8">
            <a:extLst>
              <a:ext uri="{FF2B5EF4-FFF2-40B4-BE49-F238E27FC236}">
                <a16:creationId xmlns:a16="http://schemas.microsoft.com/office/drawing/2014/main" id="{81F33E68-C1AA-9573-790E-1B49CA65A4E6}"/>
              </a:ext>
            </a:extLst>
          </p:cNvPr>
          <p:cNvSpPr/>
          <p:nvPr/>
        </p:nvSpPr>
        <p:spPr bwMode="gray">
          <a:xfrm>
            <a:off x="3388659" y="1331259"/>
            <a:ext cx="1174376" cy="83371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1000">
                <a:solidFill>
                  <a:schemeClr val="bg1"/>
                </a:solidFill>
                <a:ea typeface="Calibri"/>
                <a:cs typeface="Calibri"/>
              </a:rPr>
              <a:t>Transfer Accounting for invoices/payments to General Ledger</a:t>
            </a:r>
            <a:endParaRPr lang="en-US">
              <a:solidFill>
                <a:schemeClr val="bg1"/>
              </a:solidFill>
            </a:endParaRPr>
          </a:p>
        </p:txBody>
      </p:sp>
      <p:sp>
        <p:nvSpPr>
          <p:cNvPr id="10" name="Rectangle 9">
            <a:extLst>
              <a:ext uri="{FF2B5EF4-FFF2-40B4-BE49-F238E27FC236}">
                <a16:creationId xmlns:a16="http://schemas.microsoft.com/office/drawing/2014/main" id="{C05F3CAA-AFAC-84C4-0F70-DAABC68E72CD}"/>
              </a:ext>
            </a:extLst>
          </p:cNvPr>
          <p:cNvSpPr/>
          <p:nvPr/>
        </p:nvSpPr>
        <p:spPr bwMode="gray">
          <a:xfrm>
            <a:off x="4823012" y="1331259"/>
            <a:ext cx="1174376" cy="83371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1000">
                <a:solidFill>
                  <a:schemeClr val="bg1"/>
                </a:solidFill>
                <a:ea typeface="Calibri"/>
                <a:cs typeface="Calibri"/>
              </a:rPr>
              <a:t>Sweep unaccounted transactions</a:t>
            </a:r>
            <a:endParaRPr lang="en-US">
              <a:solidFill>
                <a:schemeClr val="bg1"/>
              </a:solidFill>
            </a:endParaRPr>
          </a:p>
        </p:txBody>
      </p:sp>
      <p:sp>
        <p:nvSpPr>
          <p:cNvPr id="16" name="Rectangle 15">
            <a:extLst>
              <a:ext uri="{FF2B5EF4-FFF2-40B4-BE49-F238E27FC236}">
                <a16:creationId xmlns:a16="http://schemas.microsoft.com/office/drawing/2014/main" id="{E1FDD004-192C-5098-E4CE-E9CB802859E4}"/>
              </a:ext>
            </a:extLst>
          </p:cNvPr>
          <p:cNvSpPr/>
          <p:nvPr/>
        </p:nvSpPr>
        <p:spPr bwMode="gray">
          <a:xfrm>
            <a:off x="6239436" y="1331258"/>
            <a:ext cx="1174376" cy="83371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1000">
                <a:solidFill>
                  <a:schemeClr val="bg1"/>
                </a:solidFill>
                <a:ea typeface="Calibri"/>
                <a:cs typeface="Calibri"/>
              </a:rPr>
              <a:t>Close current Payables Period</a:t>
            </a:r>
            <a:endParaRPr lang="en-US">
              <a:solidFill>
                <a:schemeClr val="bg1"/>
              </a:solidFill>
            </a:endParaRPr>
          </a:p>
        </p:txBody>
      </p:sp>
      <p:sp>
        <p:nvSpPr>
          <p:cNvPr id="18" name="Rectangle 17">
            <a:extLst>
              <a:ext uri="{FF2B5EF4-FFF2-40B4-BE49-F238E27FC236}">
                <a16:creationId xmlns:a16="http://schemas.microsoft.com/office/drawing/2014/main" id="{CC8908E3-8288-4E33-A492-40C3AE45F886}"/>
              </a:ext>
            </a:extLst>
          </p:cNvPr>
          <p:cNvSpPr/>
          <p:nvPr/>
        </p:nvSpPr>
        <p:spPr bwMode="gray">
          <a:xfrm>
            <a:off x="7637930" y="1331258"/>
            <a:ext cx="1174376" cy="83371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1000">
                <a:solidFill>
                  <a:schemeClr val="bg1"/>
                </a:solidFill>
                <a:ea typeface="Calibri"/>
                <a:cs typeface="Calibri"/>
              </a:rPr>
              <a:t>Open Next Payables Period</a:t>
            </a:r>
            <a:endParaRPr lang="en-US">
              <a:solidFill>
                <a:schemeClr val="bg1"/>
              </a:solidFill>
            </a:endParaRPr>
          </a:p>
        </p:txBody>
      </p:sp>
      <p:sp>
        <p:nvSpPr>
          <p:cNvPr id="19" name="Rectangle 18">
            <a:extLst>
              <a:ext uri="{FF2B5EF4-FFF2-40B4-BE49-F238E27FC236}">
                <a16:creationId xmlns:a16="http://schemas.microsoft.com/office/drawing/2014/main" id="{CBD88A66-F543-EA5F-6C1E-7AF36AFBBF9A}"/>
              </a:ext>
            </a:extLst>
          </p:cNvPr>
          <p:cNvSpPr/>
          <p:nvPr/>
        </p:nvSpPr>
        <p:spPr bwMode="gray">
          <a:xfrm>
            <a:off x="6239435" y="2496671"/>
            <a:ext cx="1174376" cy="83371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1000">
                <a:solidFill>
                  <a:schemeClr val="bg1"/>
                </a:solidFill>
                <a:ea typeface="Calibri"/>
                <a:cs typeface="Calibri"/>
              </a:rPr>
              <a:t>Reconcile Payables activity for the period</a:t>
            </a:r>
            <a:endParaRPr lang="en-US">
              <a:solidFill>
                <a:schemeClr val="bg1"/>
              </a:solidFill>
            </a:endParaRPr>
          </a:p>
        </p:txBody>
      </p:sp>
      <p:cxnSp>
        <p:nvCxnSpPr>
          <p:cNvPr id="20" name="Straight Arrow Connector 19">
            <a:extLst>
              <a:ext uri="{FF2B5EF4-FFF2-40B4-BE49-F238E27FC236}">
                <a16:creationId xmlns:a16="http://schemas.microsoft.com/office/drawing/2014/main" id="{C4A75BC5-0E53-31D1-D743-1DB1DE8EB5BF}"/>
              </a:ext>
            </a:extLst>
          </p:cNvPr>
          <p:cNvCxnSpPr/>
          <p:nvPr/>
        </p:nvCxnSpPr>
        <p:spPr>
          <a:xfrm flipV="1">
            <a:off x="1675841" y="1743074"/>
            <a:ext cx="303590" cy="89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 name="Straight Arrow Connector 1">
            <a:extLst>
              <a:ext uri="{FF2B5EF4-FFF2-40B4-BE49-F238E27FC236}">
                <a16:creationId xmlns:a16="http://schemas.microsoft.com/office/drawing/2014/main" id="{EF72F6E2-9036-92A6-627D-A899E25A2807}"/>
              </a:ext>
            </a:extLst>
          </p:cNvPr>
          <p:cNvCxnSpPr>
            <a:cxnSpLocks/>
          </p:cNvCxnSpPr>
          <p:nvPr/>
        </p:nvCxnSpPr>
        <p:spPr>
          <a:xfrm flipV="1">
            <a:off x="3088537" y="1743073"/>
            <a:ext cx="303590" cy="896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8FA7E4C-0D3A-CCA0-87B9-7F5B1054C2AE}"/>
              </a:ext>
            </a:extLst>
          </p:cNvPr>
          <p:cNvCxnSpPr>
            <a:cxnSpLocks/>
          </p:cNvCxnSpPr>
          <p:nvPr/>
        </p:nvCxnSpPr>
        <p:spPr>
          <a:xfrm flipV="1">
            <a:off x="4561166" y="1743072"/>
            <a:ext cx="303590" cy="896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C965161-2A02-5F6E-75B8-E35E3A5C14E9}"/>
              </a:ext>
            </a:extLst>
          </p:cNvPr>
          <p:cNvCxnSpPr>
            <a:cxnSpLocks/>
          </p:cNvCxnSpPr>
          <p:nvPr/>
        </p:nvCxnSpPr>
        <p:spPr>
          <a:xfrm flipV="1">
            <a:off x="5999548" y="1743073"/>
            <a:ext cx="269343" cy="896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2DB151B-BFED-1224-A42D-5DC5549A8976}"/>
              </a:ext>
            </a:extLst>
          </p:cNvPr>
          <p:cNvCxnSpPr>
            <a:cxnSpLocks/>
          </p:cNvCxnSpPr>
          <p:nvPr/>
        </p:nvCxnSpPr>
        <p:spPr>
          <a:xfrm flipV="1">
            <a:off x="7386559" y="1743072"/>
            <a:ext cx="252220" cy="896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28ED858-6D55-1DD9-0094-88B391C7AC17}"/>
              </a:ext>
            </a:extLst>
          </p:cNvPr>
          <p:cNvCxnSpPr>
            <a:cxnSpLocks/>
          </p:cNvCxnSpPr>
          <p:nvPr/>
        </p:nvCxnSpPr>
        <p:spPr>
          <a:xfrm flipH="1">
            <a:off x="3974329" y="2171565"/>
            <a:ext cx="4634" cy="32494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470DAF2-36F0-EA2C-10F1-80646962858B}"/>
              </a:ext>
            </a:extLst>
          </p:cNvPr>
          <p:cNvCxnSpPr>
            <a:cxnSpLocks/>
          </p:cNvCxnSpPr>
          <p:nvPr/>
        </p:nvCxnSpPr>
        <p:spPr>
          <a:xfrm flipH="1">
            <a:off x="6825407" y="2171564"/>
            <a:ext cx="4634" cy="32494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31942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01650" y="659021"/>
            <a:ext cx="11188700" cy="938423"/>
          </a:xfrm>
        </p:spPr>
        <p:txBody>
          <a:bodyPr/>
          <a:lstStyle/>
          <a:p>
            <a:r>
              <a:rPr lang="en-US" sz="3000" b="1" noProof="0"/>
              <a:t>Agenda</a:t>
            </a:r>
          </a:p>
        </p:txBody>
      </p:sp>
      <p:graphicFrame>
        <p:nvGraphicFramePr>
          <p:cNvPr id="7" name="Table 3">
            <a:extLst>
              <a:ext uri="{FF2B5EF4-FFF2-40B4-BE49-F238E27FC236}">
                <a16:creationId xmlns:a16="http://schemas.microsoft.com/office/drawing/2014/main" id="{195F3CE5-712D-4FE9-88E6-D841252AFFB5}"/>
              </a:ext>
            </a:extLst>
          </p:cNvPr>
          <p:cNvGraphicFramePr>
            <a:graphicFrameLocks noGrp="1"/>
          </p:cNvGraphicFramePr>
          <p:nvPr>
            <p:extLst>
              <p:ext uri="{D42A27DB-BD31-4B8C-83A1-F6EECF244321}">
                <p14:modId xmlns:p14="http://schemas.microsoft.com/office/powerpoint/2010/main" val="2919420074"/>
              </p:ext>
            </p:extLst>
          </p:nvPr>
        </p:nvGraphicFramePr>
        <p:xfrm>
          <a:off x="501650" y="1947196"/>
          <a:ext cx="7084401" cy="2784076"/>
        </p:xfrm>
        <a:graphic>
          <a:graphicData uri="http://schemas.openxmlformats.org/drawingml/2006/table">
            <a:tbl>
              <a:tblPr firstRow="1" bandRow="1">
                <a:tableStyleId>{5C22544A-7EE6-4342-B048-85BDC9FD1C3A}</a:tableStyleId>
              </a:tblPr>
              <a:tblGrid>
                <a:gridCol w="7084401">
                  <a:extLst>
                    <a:ext uri="{9D8B030D-6E8A-4147-A177-3AD203B41FA5}">
                      <a16:colId xmlns:a16="http://schemas.microsoft.com/office/drawing/2014/main" val="141815357"/>
                    </a:ext>
                  </a:extLst>
                </a:gridCol>
              </a:tblGrid>
              <a:tr h="547853">
                <a:tc>
                  <a:txBody>
                    <a:bodyPr/>
                    <a:lstStyle/>
                    <a:p>
                      <a:r>
                        <a:rPr lang="en-US" sz="1800" b="1">
                          <a:solidFill>
                            <a:schemeClr val="tx1"/>
                          </a:solidFill>
                          <a:latin typeface="+mn-lt"/>
                        </a:rPr>
                        <a:t>1.0</a:t>
                      </a:r>
                      <a:r>
                        <a:rPr lang="en-US" sz="1800" b="0">
                          <a:solidFill>
                            <a:schemeClr val="tx1"/>
                          </a:solidFill>
                          <a:latin typeface="+mn-lt"/>
                        </a:rPr>
                        <a:t> Introduction Assessment Objectiv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1095040"/>
                  </a:ext>
                </a:extLst>
              </a:tr>
              <a:tr h="547853">
                <a:tc>
                  <a:txBody>
                    <a:bodyPr/>
                    <a:lstStyle/>
                    <a:p>
                      <a:r>
                        <a:rPr lang="en-US" sz="1800" b="1">
                          <a:solidFill>
                            <a:schemeClr val="tx1"/>
                          </a:solidFill>
                          <a:latin typeface="+mn-lt"/>
                        </a:rPr>
                        <a:t>2.0</a:t>
                      </a:r>
                      <a:r>
                        <a:rPr lang="en-US" sz="1800" b="0">
                          <a:solidFill>
                            <a:schemeClr val="tx1"/>
                          </a:solidFill>
                          <a:latin typeface="+mn-lt"/>
                        </a:rPr>
                        <a:t> Capability Deep Dive </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2366498"/>
                  </a:ext>
                </a:extLst>
              </a:tr>
              <a:tr h="592664">
                <a:tc>
                  <a:txBody>
                    <a:bodyPr/>
                    <a:lstStyle/>
                    <a:p>
                      <a:r>
                        <a:rPr lang="en-US" sz="1800" b="1">
                          <a:solidFill>
                            <a:schemeClr val="tx1"/>
                          </a:solidFill>
                          <a:latin typeface="+mn-lt"/>
                        </a:rPr>
                        <a:t>3.0</a:t>
                      </a:r>
                      <a:r>
                        <a:rPr lang="en-US" sz="1800" b="0">
                          <a:solidFill>
                            <a:schemeClr val="tx1"/>
                          </a:solidFill>
                          <a:latin typeface="+mn-lt"/>
                        </a:rPr>
                        <a:t> Key Design Decisions </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6954212"/>
                  </a:ext>
                </a:extLst>
              </a:tr>
              <a:tr h="547853">
                <a:tc>
                  <a:txBody>
                    <a:bodyPr/>
                    <a:lstStyle/>
                    <a:p>
                      <a:r>
                        <a:rPr lang="en-US" sz="1800" b="1">
                          <a:solidFill>
                            <a:schemeClr val="tx1"/>
                          </a:solidFill>
                          <a:latin typeface="+mn-lt"/>
                        </a:rPr>
                        <a:t>4.0 </a:t>
                      </a:r>
                      <a:r>
                        <a:rPr lang="en-US" sz="1800" b="0" kern="1200">
                          <a:solidFill>
                            <a:schemeClr val="tx1"/>
                          </a:solidFill>
                          <a:latin typeface="+mn-lt"/>
                          <a:ea typeface="+mn-ea"/>
                          <a:cs typeface="+mn-cs"/>
                        </a:rPr>
                        <a:t>Integration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454770"/>
                  </a:ext>
                </a:extLst>
              </a:tr>
              <a:tr h="547853">
                <a:tc>
                  <a:txBody>
                    <a:bodyPr/>
                    <a:lstStyle/>
                    <a:p>
                      <a:r>
                        <a:rPr lang="en-US" sz="1800" b="1">
                          <a:solidFill>
                            <a:schemeClr val="tx1"/>
                          </a:solidFill>
                          <a:latin typeface="+mn-lt"/>
                        </a:rPr>
                        <a:t>5.0 </a:t>
                      </a:r>
                      <a:r>
                        <a:rPr lang="en-US" sz="1800" b="0" kern="1200">
                          <a:solidFill>
                            <a:schemeClr val="tx1"/>
                          </a:solidFill>
                          <a:latin typeface="+mn-lt"/>
                          <a:ea typeface="+mn-ea"/>
                          <a:cs typeface="+mn-cs"/>
                        </a:rPr>
                        <a:t>Review Actions – (Question Response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617625"/>
                  </a:ext>
                </a:extLst>
              </a:tr>
            </a:tbl>
          </a:graphicData>
        </a:graphic>
      </p:graphicFrame>
    </p:spTree>
    <p:extLst>
      <p:ext uri="{BB962C8B-B14F-4D97-AF65-F5344CB8AC3E}">
        <p14:creationId xmlns:p14="http://schemas.microsoft.com/office/powerpoint/2010/main" val="3665120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ea typeface="Open Sans"/>
                <a:cs typeface="Open Sans"/>
              </a:rPr>
              <a:t>Procure To Pay - Payables</a:t>
            </a:r>
            <a:endParaRPr lang="en-US"/>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pPr>
              <a:buClr>
                <a:srgbClr val="FFD100"/>
              </a:buClr>
            </a:pPr>
            <a:r>
              <a:rPr lang="en-US"/>
              <a:t>ORACLE CLOUD PAYABLE REPORTING  </a:t>
            </a:r>
          </a:p>
        </p:txBody>
      </p:sp>
    </p:spTree>
    <p:extLst>
      <p:ext uri="{BB962C8B-B14F-4D97-AF65-F5344CB8AC3E}">
        <p14:creationId xmlns:p14="http://schemas.microsoft.com/office/powerpoint/2010/main" val="344827207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058A5FE-D89B-4DAF-8646-F440A73F289F}"/>
              </a:ext>
            </a:extLst>
          </p:cNvPr>
          <p:cNvSpPr>
            <a:spLocks noGrp="1"/>
          </p:cNvSpPr>
          <p:nvPr>
            <p:ph type="body" sz="quarter" idx="13"/>
          </p:nvPr>
        </p:nvSpPr>
        <p:spPr/>
        <p:txBody>
          <a:bodyPr/>
          <a:lstStyle/>
          <a:p>
            <a:r>
              <a:rPr lang="en-US"/>
              <a:t>Key Reports</a:t>
            </a:r>
          </a:p>
        </p:txBody>
      </p:sp>
      <p:sp>
        <p:nvSpPr>
          <p:cNvPr id="4" name="Title 3">
            <a:extLst>
              <a:ext uri="{FF2B5EF4-FFF2-40B4-BE49-F238E27FC236}">
                <a16:creationId xmlns:a16="http://schemas.microsoft.com/office/drawing/2014/main" id="{9BA54329-FE75-463F-A9AB-6CB4BBB0E33C}"/>
              </a:ext>
            </a:extLst>
          </p:cNvPr>
          <p:cNvSpPr>
            <a:spLocks noGrp="1"/>
          </p:cNvSpPr>
          <p:nvPr>
            <p:ph type="title"/>
          </p:nvPr>
        </p:nvSpPr>
        <p:spPr>
          <a:xfrm>
            <a:off x="469900" y="347502"/>
            <a:ext cx="11252200" cy="334102"/>
          </a:xfrm>
        </p:spPr>
        <p:txBody>
          <a:bodyPr/>
          <a:lstStyle/>
          <a:p>
            <a:r>
              <a:rPr lang="en-US" sz="3000" b="1"/>
              <a:t>Out of Box Reports</a:t>
            </a:r>
          </a:p>
        </p:txBody>
      </p:sp>
      <p:graphicFrame>
        <p:nvGraphicFramePr>
          <p:cNvPr id="5" name="Table 4">
            <a:extLst>
              <a:ext uri="{FF2B5EF4-FFF2-40B4-BE49-F238E27FC236}">
                <a16:creationId xmlns:a16="http://schemas.microsoft.com/office/drawing/2014/main" id="{AEC53D0C-E55B-4557-B8B8-712E42BEE1D0}"/>
              </a:ext>
            </a:extLst>
          </p:cNvPr>
          <p:cNvGraphicFramePr>
            <a:graphicFrameLocks noGrp="1"/>
          </p:cNvGraphicFramePr>
          <p:nvPr>
            <p:extLst>
              <p:ext uri="{D42A27DB-BD31-4B8C-83A1-F6EECF244321}">
                <p14:modId xmlns:p14="http://schemas.microsoft.com/office/powerpoint/2010/main" val="673278304"/>
              </p:ext>
            </p:extLst>
          </p:nvPr>
        </p:nvGraphicFramePr>
        <p:xfrm>
          <a:off x="1061886" y="1516464"/>
          <a:ext cx="10151792" cy="4938950"/>
        </p:xfrm>
        <a:graphic>
          <a:graphicData uri="http://schemas.openxmlformats.org/drawingml/2006/table">
            <a:tbl>
              <a:tblPr/>
              <a:tblGrid>
                <a:gridCol w="485623">
                  <a:extLst>
                    <a:ext uri="{9D8B030D-6E8A-4147-A177-3AD203B41FA5}">
                      <a16:colId xmlns:a16="http://schemas.microsoft.com/office/drawing/2014/main" val="2887778811"/>
                    </a:ext>
                  </a:extLst>
                </a:gridCol>
                <a:gridCol w="2630889">
                  <a:extLst>
                    <a:ext uri="{9D8B030D-6E8A-4147-A177-3AD203B41FA5}">
                      <a16:colId xmlns:a16="http://schemas.microsoft.com/office/drawing/2014/main" val="4132214476"/>
                    </a:ext>
                  </a:extLst>
                </a:gridCol>
                <a:gridCol w="6820955">
                  <a:extLst>
                    <a:ext uri="{9D8B030D-6E8A-4147-A177-3AD203B41FA5}">
                      <a16:colId xmlns:a16="http://schemas.microsoft.com/office/drawing/2014/main" val="3898181544"/>
                    </a:ext>
                  </a:extLst>
                </a:gridCol>
                <a:gridCol w="214325">
                  <a:extLst>
                    <a:ext uri="{9D8B030D-6E8A-4147-A177-3AD203B41FA5}">
                      <a16:colId xmlns:a16="http://schemas.microsoft.com/office/drawing/2014/main" val="338947873"/>
                    </a:ext>
                  </a:extLst>
                </a:gridCol>
              </a:tblGrid>
              <a:tr h="444724">
                <a:tc>
                  <a:txBody>
                    <a:bodyPr/>
                    <a:lstStyle/>
                    <a:p>
                      <a:pPr marL="0" marR="0" lvl="0" indent="0" algn="l" rtl="0" eaLnBrk="0" fontAlgn="base" latinLnBrk="0" hangingPunct="0">
                        <a:lnSpc>
                          <a:spcPct val="100000"/>
                        </a:lnSpc>
                        <a:spcBef>
                          <a:spcPts val="0"/>
                        </a:spcBef>
                        <a:spcAft>
                          <a:spcPct val="0"/>
                        </a:spcAft>
                        <a:buClrTx/>
                        <a:buSzPct val="25000"/>
                        <a:buFont typeface="Wingdings" pitchFamily="2" charset="2"/>
                        <a:buNone/>
                      </a:pPr>
                      <a:r>
                        <a:rPr kumimoji="0" lang="en-US" sz="1400" b="1" u="none" strike="noStrike" kern="1200" cap="none" normalizeH="0" baseline="0">
                          <a:ln>
                            <a:noFill/>
                          </a:ln>
                          <a:solidFill>
                            <a:schemeClr val="tx1"/>
                          </a:solidFill>
                          <a:effectLst/>
                          <a:latin typeface="+mn-lt"/>
                          <a:ea typeface="+mn-ea"/>
                          <a:cs typeface="+mn-cs"/>
                        </a:rPr>
                        <a:t>No.</a:t>
                      </a:r>
                      <a:r>
                        <a:rPr lang="en-US" sz="1400" b="1" u="none" strike="noStrike" kern="1200" cap="none" normalizeH="0" baseline="0">
                          <a:ln>
                            <a:noFill/>
                          </a:ln>
                          <a:solidFill>
                            <a:schemeClr val="tx1"/>
                          </a:solidFill>
                          <a:effectLst/>
                          <a:latin typeface="+mn-lt"/>
                          <a:ea typeface="+mn-ea"/>
                          <a:cs typeface="+mn-cs"/>
                        </a:rPr>
                        <a:t> </a:t>
                      </a:r>
                      <a:endParaRPr kumimoji="0" lang="en-US" sz="1400" b="1" u="none" strike="noStrike" kern="1200" cap="none" normalizeH="0" baseline="0">
                        <a:ln>
                          <a:noFill/>
                        </a:ln>
                        <a:solidFill>
                          <a:schemeClr val="tx1"/>
                        </a:solidFill>
                        <a:effectLst/>
                        <a:latin typeface="+mn-lt"/>
                        <a:ea typeface="+mn-ea"/>
                        <a:cs typeface="+mn-cs"/>
                      </a:endParaRPr>
                    </a:p>
                  </a:txBody>
                  <a:tcPr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u="none" strike="noStrike" cap="none" normalizeH="0" baseline="0">
                          <a:ln>
                            <a:noFill/>
                          </a:ln>
                          <a:solidFill>
                            <a:schemeClr val="tx1"/>
                          </a:solidFill>
                          <a:effectLst/>
                          <a:latin typeface="+mn-lt"/>
                        </a:rPr>
                        <a:t>Report Name</a:t>
                      </a:r>
                      <a:endParaRPr kumimoji="0" lang="en-US" sz="1400" b="1" i="0" u="none" strike="noStrike" cap="none" normalizeH="0" baseline="0">
                        <a:ln>
                          <a:noFill/>
                        </a:ln>
                        <a:solidFill>
                          <a:schemeClr val="tx1"/>
                        </a:solidFill>
                        <a:effectLst/>
                        <a:latin typeface="+mn-lt"/>
                      </a:endParaRPr>
                    </a:p>
                  </a:txBody>
                  <a:tcPr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Description</a:t>
                      </a:r>
                    </a:p>
                  </a:txBody>
                  <a:tcPr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400" b="1" i="0" u="none" strike="noStrike" cap="none" normalizeH="0" baseline="0">
                        <a:ln>
                          <a:noFill/>
                        </a:ln>
                        <a:solidFill>
                          <a:schemeClr val="tx1"/>
                        </a:solidFill>
                        <a:effectLst/>
                        <a:latin typeface="+mn-lt"/>
                      </a:endParaRPr>
                    </a:p>
                  </a:txBody>
                  <a:tcPr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9114798"/>
                  </a:ext>
                </a:extLst>
              </a:tr>
              <a:tr h="454497">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1</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Import Payables Invoices Report</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Report from the process that creates Payables invoices from invoice data in the open interface tables.</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9130700"/>
                  </a:ext>
                </a:extLst>
              </a:tr>
              <a:tr h="454497">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2</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Payables Credit Memo Matching Report</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Lists credit memos and debit memos for suppliers along with the invoices to which the credit memos and debit memos are matched.</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9167698"/>
                  </a:ext>
                </a:extLst>
              </a:tr>
              <a:tr h="513645">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3</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Payables Invoice Aging Report</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Lists unpaid invoices according to the specified aging periods.</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9865779"/>
                  </a:ext>
                </a:extLst>
              </a:tr>
              <a:tr h="420434">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4</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Supplier Balance Aging Report</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List the unpaid supplier invoices according to the specified aging periods.</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8260299"/>
                  </a:ext>
                </a:extLst>
              </a:tr>
              <a:tr h="446794">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5</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Payables Invoice Audit by Voucher Number Listing</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Lists invoices with assigned sequential voucher numbers.</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2837506"/>
                  </a:ext>
                </a:extLst>
              </a:tr>
              <a:tr h="454497">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6</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Payables Invoice Audit Listing</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Lists invoices for review and audit based on a specified amount for a given supplier and range of invoice creation dates.</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7278729"/>
                  </a:ext>
                </a:extLst>
              </a:tr>
              <a:tr h="420434">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7</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Payables Cash Requirement Report</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Forecasts immediate cash needs for invoice payments.</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6737851"/>
                  </a:ext>
                </a:extLst>
              </a:tr>
              <a:tr h="454497">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8</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Payables Payment Requests Import Report</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List the payment requests for invoices that are imported or rejected with rejection reasons for payments.</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1430839"/>
                  </a:ext>
                </a:extLst>
              </a:tr>
              <a:tr h="454497">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9</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Payables Discounts Taken and Lost Report</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Identifies payments where a discount was taken and payments where a discount was available, but not taken.</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3604001"/>
                  </a:ext>
                </a:extLst>
              </a:tr>
              <a:tr h="420434">
                <a:tc>
                  <a:txBody>
                    <a:bodyPr/>
                    <a:lstStyle/>
                    <a:p>
                      <a:pPr marL="0" indent="0" algn="ctr">
                        <a:lnSpc>
                          <a:spcPct val="110000"/>
                        </a:lnSpc>
                        <a:spcBef>
                          <a:spcPts val="300"/>
                        </a:spcBef>
                        <a:spcAft>
                          <a:spcPts val="600"/>
                        </a:spcAft>
                        <a:buFont typeface="Arial" panose="020B0604020202020204" pitchFamily="34" charset="0"/>
                        <a:buNone/>
                      </a:pPr>
                      <a:r>
                        <a:rPr lang="en-US" sz="1200" b="0">
                          <a:solidFill>
                            <a:schemeClr val="tx1"/>
                          </a:solidFill>
                          <a:latin typeface="+mn-lt"/>
                        </a:rPr>
                        <a:t>10</a:t>
                      </a:r>
                    </a:p>
                  </a:txBody>
                  <a:tcPr anchor="ctr" horzOverflow="overflow">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spcBef>
                          <a:spcPts val="0"/>
                        </a:spcBef>
                        <a:spcAft>
                          <a:spcPts val="500"/>
                        </a:spcAft>
                      </a:pPr>
                      <a:r>
                        <a:rPr lang="en-US" sz="1200" b="1">
                          <a:solidFill>
                            <a:srgbClr val="000000"/>
                          </a:solidFill>
                          <a:effectLst/>
                          <a:latin typeface="+mn-lt"/>
                        </a:rPr>
                        <a:t>Payables Payment Register</a:t>
                      </a:r>
                    </a:p>
                  </a:txBody>
                  <a:tcPr marT="38100" marB="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a:effectLst/>
                          <a:latin typeface="+mn-lt"/>
                        </a:rPr>
                        <a:t>Provides detailed information about payments</a:t>
                      </a:r>
                    </a:p>
                  </a:txBody>
                  <a:tcPr marT="38100" anchor="ctr">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US" sz="1200" b="0">
                        <a:effectLst/>
                        <a:latin typeface="+mn-lt"/>
                      </a:endParaRPr>
                    </a:p>
                  </a:txBody>
                  <a:tcPr marT="38100">
                    <a:lnL w="12700" cmpd="sng">
                      <a:noFill/>
                      <a:prstDash val="solid"/>
                    </a:lnL>
                    <a:lnR w="12700" cmpd="sng">
                      <a:noFill/>
                      <a:prstDash val="soli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496921"/>
                  </a:ext>
                </a:extLst>
              </a:tr>
            </a:tbl>
          </a:graphicData>
        </a:graphic>
      </p:graphicFrame>
    </p:spTree>
    <p:extLst>
      <p:ext uri="{BB962C8B-B14F-4D97-AF65-F5344CB8AC3E}">
        <p14:creationId xmlns:p14="http://schemas.microsoft.com/office/powerpoint/2010/main" val="196561024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3213180783"/>
              </p:ext>
            </p:extLst>
          </p:nvPr>
        </p:nvGraphicFramePr>
        <p:xfrm>
          <a:off x="663289" y="1523025"/>
          <a:ext cx="10865421" cy="4524507"/>
        </p:xfrm>
        <a:graphic>
          <a:graphicData uri="http://schemas.openxmlformats.org/drawingml/2006/table">
            <a:tbl>
              <a:tblPr firstRow="1" bandRow="1">
                <a:tableStyleId>{5C22544A-7EE6-4342-B048-85BDC9FD1C3A}</a:tableStyleId>
              </a:tblPr>
              <a:tblGrid>
                <a:gridCol w="677731">
                  <a:extLst>
                    <a:ext uri="{9D8B030D-6E8A-4147-A177-3AD203B41FA5}">
                      <a16:colId xmlns:a16="http://schemas.microsoft.com/office/drawing/2014/main" val="20000"/>
                    </a:ext>
                  </a:extLst>
                </a:gridCol>
                <a:gridCol w="4075665">
                  <a:extLst>
                    <a:ext uri="{9D8B030D-6E8A-4147-A177-3AD203B41FA5}">
                      <a16:colId xmlns:a16="http://schemas.microsoft.com/office/drawing/2014/main" val="20002"/>
                    </a:ext>
                  </a:extLst>
                </a:gridCol>
                <a:gridCol w="2093205">
                  <a:extLst>
                    <a:ext uri="{9D8B030D-6E8A-4147-A177-3AD203B41FA5}">
                      <a16:colId xmlns:a16="http://schemas.microsoft.com/office/drawing/2014/main" val="2031343793"/>
                    </a:ext>
                  </a:extLst>
                </a:gridCol>
                <a:gridCol w="1729648">
                  <a:extLst>
                    <a:ext uri="{9D8B030D-6E8A-4147-A177-3AD203B41FA5}">
                      <a16:colId xmlns:a16="http://schemas.microsoft.com/office/drawing/2014/main" val="2042509979"/>
                    </a:ext>
                  </a:extLst>
                </a:gridCol>
                <a:gridCol w="2289172">
                  <a:extLst>
                    <a:ext uri="{9D8B030D-6E8A-4147-A177-3AD203B41FA5}">
                      <a16:colId xmlns:a16="http://schemas.microsoft.com/office/drawing/2014/main" val="1994328279"/>
                    </a:ext>
                  </a:extLst>
                </a:gridCol>
              </a:tblGrid>
              <a:tr h="292257">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Action Item</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kumimoji="0" lang="en-US" sz="1400" b="1" i="0" u="none" strike="noStrike" cap="none" normalizeH="0" baseline="0">
                          <a:ln>
                            <a:noFill/>
                          </a:ln>
                          <a:solidFill>
                            <a:schemeClr val="tx1"/>
                          </a:solidFill>
                          <a:effectLst/>
                          <a:latin typeface="+mn-lt"/>
                        </a:rPr>
                        <a:t>Comment</a:t>
                      </a:r>
                      <a:r>
                        <a:rPr lang="en-US" sz="1400" b="1" i="0" u="none" strike="noStrike" cap="none" normalizeH="0" baseline="0">
                          <a:ln>
                            <a:noFill/>
                          </a:ln>
                          <a:solidFill>
                            <a:schemeClr val="tx1"/>
                          </a:solidFill>
                          <a:effectLst/>
                          <a:latin typeface="+mn-lt"/>
                        </a:rPr>
                        <a:t> </a:t>
                      </a:r>
                      <a:endParaRPr kumimoji="0" lang="en-US" sz="14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Owner</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Due Date</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5715">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cap="none" baseline="0">
                          <a:solidFill>
                            <a:schemeClr val="tx1"/>
                          </a:solidFill>
                          <a:effectLst/>
                          <a:latin typeface="+mn-lt"/>
                          <a:ea typeface="+mn-ea"/>
                          <a:cs typeface="Arial"/>
                        </a:rPr>
                        <a:t>What is the frequency of payment run ?</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rtl="0" eaLnBrk="1" fontAlgn="t" latinLnBrk="0" hangingPunct="1">
                        <a:lnSpc>
                          <a:spcPct val="100000"/>
                        </a:lnSpc>
                        <a:spcBef>
                          <a:spcPts val="0"/>
                        </a:spcBef>
                        <a:spcAft>
                          <a:spcPts val="0"/>
                        </a:spcAft>
                        <a:buClr>
                          <a:srgbClr val="000000"/>
                        </a:buClr>
                        <a:buSzTx/>
                        <a:buFont typeface="Arial"/>
                        <a:buNone/>
                      </a:pPr>
                      <a:r>
                        <a:rPr lang="en-US" sz="1200" b="0" i="0" u="none" strike="noStrike" kern="1200" cap="none">
                          <a:solidFill>
                            <a:schemeClr val="tx1"/>
                          </a:solidFill>
                          <a:effectLst/>
                          <a:latin typeface="+mn-lt"/>
                          <a:ea typeface="+mn-ea"/>
                          <a:cs typeface="Arial"/>
                        </a:rPr>
                        <a:t>  </a:t>
                      </a: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5998">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cap="none" baseline="0">
                          <a:solidFill>
                            <a:schemeClr val="tx1"/>
                          </a:solidFill>
                          <a:effectLst/>
                          <a:latin typeface="+mn-lt"/>
                          <a:ea typeface="+mn-ea"/>
                          <a:cs typeface="Arial"/>
                        </a:rPr>
                        <a:t>What is the average volume of each payment being made through different payment methods (like Check, Cash, EFT, etc..) in a week/mon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701418">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cap="none" baseline="0">
                          <a:solidFill>
                            <a:schemeClr val="tx1"/>
                          </a:solidFill>
                          <a:effectLst/>
                          <a:latin typeface="+mn-lt"/>
                          <a:ea typeface="+mn-ea"/>
                          <a:cs typeface="Arial"/>
                        </a:rPr>
                        <a:t>Are there any foreign currency payments (non-bank account currency) performed from your bank accounts?</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1110578">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1200" b="0" i="0" u="none" strike="noStrike" kern="1200" cap="none" baseline="0">
                          <a:solidFill>
                            <a:schemeClr val="tx1"/>
                          </a:solidFill>
                          <a:effectLst/>
                          <a:latin typeface="+mn-lt"/>
                          <a:ea typeface="+mn-ea"/>
                          <a:cs typeface="Arial"/>
                        </a:rPr>
                        <a:t>Are there any third-party payments that are currently being processed, i.e.., a payment that is made to a supplier on behalf of another supplier?</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a:solidFill>
                          <a:schemeClr val="tx1"/>
                        </a:solidFill>
                        <a:effectLst/>
                        <a:latin typeface="+mn-lt"/>
                        <a:ea typeface="+mn-ea"/>
                        <a:cs typeface="Arial" panose="020B0604020202020204" pitchFamily="34" charset="0"/>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a:solidFill>
                          <a:schemeClr val="tx1"/>
                        </a:solidFill>
                        <a:effectLst/>
                        <a:latin typeface="+mn-lt"/>
                        <a:ea typeface="+mn-ea"/>
                        <a:cs typeface="Arial" panose="020B0604020202020204" pitchFamily="34" charset="0"/>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a:solidFill>
                          <a:schemeClr val="tx1"/>
                        </a:solidFill>
                        <a:effectLst/>
                        <a:latin typeface="+mn-lt"/>
                        <a:ea typeface="+mn-ea"/>
                        <a:cs typeface="Arial" panose="020B0604020202020204" pitchFamily="34" charset="0"/>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905998">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cap="none" baseline="0">
                          <a:solidFill>
                            <a:schemeClr val="tx1"/>
                          </a:solidFill>
                          <a:effectLst/>
                          <a:latin typeface="+mn-lt"/>
                          <a:ea typeface="+mn-ea"/>
                          <a:cs typeface="Arial"/>
                        </a:rPr>
                        <a:t>How many different check formats are currently in use for payments? </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bl>
          </a:graphicData>
        </a:graphic>
      </p:graphicFrame>
      <p:sp>
        <p:nvSpPr>
          <p:cNvPr id="5" name="Text Placeholder 12">
            <a:extLst>
              <a:ext uri="{FF2B5EF4-FFF2-40B4-BE49-F238E27FC236}">
                <a16:creationId xmlns:a16="http://schemas.microsoft.com/office/drawing/2014/main" id="{5735EB1C-169A-4EFB-AF98-CA84CB36889D}"/>
              </a:ext>
            </a:extLst>
          </p:cNvPr>
          <p:cNvSpPr txBox="1">
            <a:spLocks/>
          </p:cNvSpPr>
          <p:nvPr/>
        </p:nvSpPr>
        <p:spPr>
          <a:xfrm>
            <a:off x="501650" y="6604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a:p>
        </p:txBody>
      </p:sp>
      <p:sp>
        <p:nvSpPr>
          <p:cNvPr id="6" name="Title 9">
            <a:extLst>
              <a:ext uri="{FF2B5EF4-FFF2-40B4-BE49-F238E27FC236}">
                <a16:creationId xmlns:a16="http://schemas.microsoft.com/office/drawing/2014/main" id="{BF93DE19-A19B-4910-BD4E-8E02B82F8C5F}"/>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Review Action Items</a:t>
            </a:r>
          </a:p>
        </p:txBody>
      </p:sp>
      <p:sp>
        <p:nvSpPr>
          <p:cNvPr id="7" name="Text Placeholder 2">
            <a:extLst>
              <a:ext uri="{FF2B5EF4-FFF2-40B4-BE49-F238E27FC236}">
                <a16:creationId xmlns:a16="http://schemas.microsoft.com/office/drawing/2014/main" id="{B5AF4F8B-9256-49F9-A4FD-9FD26FAE66AE}"/>
              </a:ext>
            </a:extLst>
          </p:cNvPr>
          <p:cNvSpPr>
            <a:spLocks noGrp="1"/>
          </p:cNvSpPr>
          <p:nvPr>
            <p:ph type="body" sz="quarter" idx="13"/>
          </p:nvPr>
        </p:nvSpPr>
        <p:spPr>
          <a:xfrm>
            <a:off x="469900" y="736688"/>
            <a:ext cx="11252200" cy="757255"/>
          </a:xfrm>
        </p:spPr>
        <p:txBody>
          <a:bodyPr/>
          <a:lstStyle/>
          <a:p>
            <a:r>
              <a:rPr lang="en-US"/>
              <a:t>Questions on current payment process</a:t>
            </a:r>
          </a:p>
        </p:txBody>
      </p:sp>
    </p:spTree>
    <p:extLst>
      <p:ext uri="{BB962C8B-B14F-4D97-AF65-F5344CB8AC3E}">
        <p14:creationId xmlns:p14="http://schemas.microsoft.com/office/powerpoint/2010/main" val="292187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1095295506"/>
              </p:ext>
            </p:extLst>
          </p:nvPr>
        </p:nvGraphicFramePr>
        <p:xfrm>
          <a:off x="663289" y="1807358"/>
          <a:ext cx="10865421" cy="4422634"/>
        </p:xfrm>
        <a:graphic>
          <a:graphicData uri="http://schemas.openxmlformats.org/drawingml/2006/table">
            <a:tbl>
              <a:tblPr firstRow="1" bandRow="1">
                <a:tableStyleId>{5C22544A-7EE6-4342-B048-85BDC9FD1C3A}</a:tableStyleId>
              </a:tblPr>
              <a:tblGrid>
                <a:gridCol w="677731">
                  <a:extLst>
                    <a:ext uri="{9D8B030D-6E8A-4147-A177-3AD203B41FA5}">
                      <a16:colId xmlns:a16="http://schemas.microsoft.com/office/drawing/2014/main" val="20000"/>
                    </a:ext>
                  </a:extLst>
                </a:gridCol>
                <a:gridCol w="4152783">
                  <a:extLst>
                    <a:ext uri="{9D8B030D-6E8A-4147-A177-3AD203B41FA5}">
                      <a16:colId xmlns:a16="http://schemas.microsoft.com/office/drawing/2014/main" val="20002"/>
                    </a:ext>
                  </a:extLst>
                </a:gridCol>
                <a:gridCol w="1972019">
                  <a:extLst>
                    <a:ext uri="{9D8B030D-6E8A-4147-A177-3AD203B41FA5}">
                      <a16:colId xmlns:a16="http://schemas.microsoft.com/office/drawing/2014/main" val="2031343793"/>
                    </a:ext>
                  </a:extLst>
                </a:gridCol>
                <a:gridCol w="2038121">
                  <a:extLst>
                    <a:ext uri="{9D8B030D-6E8A-4147-A177-3AD203B41FA5}">
                      <a16:colId xmlns:a16="http://schemas.microsoft.com/office/drawing/2014/main" val="2042509979"/>
                    </a:ext>
                  </a:extLst>
                </a:gridCol>
                <a:gridCol w="2024767">
                  <a:extLst>
                    <a:ext uri="{9D8B030D-6E8A-4147-A177-3AD203B41FA5}">
                      <a16:colId xmlns:a16="http://schemas.microsoft.com/office/drawing/2014/main" val="1994328279"/>
                    </a:ext>
                  </a:extLst>
                </a:gridCol>
              </a:tblGrid>
              <a:tr h="290164">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400" b="1" i="0" u="none" strike="noStrike" kern="1200" cap="none" baseline="0">
                          <a:solidFill>
                            <a:schemeClr val="tx1"/>
                          </a:solidFill>
                          <a:effectLst/>
                          <a:latin typeface="+mn-lt"/>
                          <a:ea typeface="+mn-ea"/>
                          <a:cs typeface="Arial"/>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400" b="1" i="0" u="none" strike="noStrike" kern="1200" cap="none" baseline="0">
                          <a:solidFill>
                            <a:schemeClr val="tx1"/>
                          </a:solidFill>
                          <a:effectLst/>
                          <a:latin typeface="+mn-lt"/>
                          <a:ea typeface="+mn-ea"/>
                          <a:cs typeface="Arial"/>
                        </a:rPr>
                        <a:t>Action Item</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400" b="1" i="0" u="none" strike="noStrike" kern="1200" cap="none" baseline="0">
                          <a:solidFill>
                            <a:schemeClr val="tx1"/>
                          </a:solidFill>
                          <a:effectLst/>
                          <a:latin typeface="+mn-lt"/>
                          <a:ea typeface="+mn-ea"/>
                          <a:cs typeface="Arial"/>
                        </a:rPr>
                        <a:t>Comment </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400" b="1" i="0" u="none" strike="noStrike" kern="1200" cap="none" baseline="0">
                          <a:solidFill>
                            <a:schemeClr val="tx1"/>
                          </a:solidFill>
                          <a:effectLst/>
                          <a:latin typeface="+mn-lt"/>
                          <a:ea typeface="+mn-ea"/>
                          <a:cs typeface="Arial"/>
                        </a:rPr>
                        <a:t>Owner</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400" b="1" i="0" u="none" strike="noStrike" kern="1200" cap="none" baseline="0">
                          <a:solidFill>
                            <a:schemeClr val="tx1"/>
                          </a:solidFill>
                          <a:effectLst/>
                          <a:latin typeface="+mn-lt"/>
                          <a:ea typeface="+mn-ea"/>
                          <a:cs typeface="Arial"/>
                        </a:rPr>
                        <a:t>Due Date</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6394">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cap="none" baseline="0">
                          <a:solidFill>
                            <a:schemeClr val="tx1"/>
                          </a:solidFill>
                          <a:effectLst/>
                          <a:latin typeface="+mn-lt"/>
                          <a:ea typeface="+mn-ea"/>
                          <a:cs typeface="Arial"/>
                        </a:rPr>
                        <a:t>Are there any payments done directly on the bank portal, i.e., not part of the payment run?</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rtl="0" eaLnBrk="1" fontAlgn="t" latinLnBrk="0" hangingPunct="1">
                        <a:lnSpc>
                          <a:spcPct val="100000"/>
                        </a:lnSpc>
                        <a:spcBef>
                          <a:spcPts val="0"/>
                        </a:spcBef>
                        <a:spcAft>
                          <a:spcPts val="0"/>
                        </a:spcAft>
                        <a:buClr>
                          <a:srgbClr val="000000"/>
                        </a:buClr>
                        <a:buSzTx/>
                        <a:buFont typeface="Arial"/>
                        <a:buNone/>
                      </a:pPr>
                      <a:r>
                        <a:rPr lang="en-US" sz="1200" b="0" i="0" u="none" strike="noStrike" kern="1200" cap="none" baseline="0">
                          <a:solidFill>
                            <a:schemeClr val="tx1"/>
                          </a:solidFill>
                          <a:effectLst/>
                          <a:latin typeface="+mn-lt"/>
                          <a:ea typeface="+mn-ea"/>
                          <a:cs typeface="Arial"/>
                        </a:rPr>
                        <a:t>  </a:t>
                      </a:r>
                      <a:endParaRPr lang="en-US" sz="1200" b="0" i="0" u="none" strike="noStrike" kern="1200" cap="none" baseline="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34231">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7</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1200" b="0" i="0" u="none" strike="noStrike" kern="1200" cap="none" baseline="0">
                          <a:solidFill>
                            <a:schemeClr val="tx1"/>
                          </a:solidFill>
                          <a:effectLst/>
                          <a:latin typeface="+mn-lt"/>
                          <a:ea typeface="+mn-ea"/>
                          <a:cs typeface="Arial"/>
                        </a:rPr>
                        <a:t>Are payments done by one entity on behalf of another? </a:t>
                      </a:r>
                    </a:p>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654341">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8</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1200" b="0" i="0" u="none" strike="noStrike" kern="1200" cap="none" baseline="0">
                          <a:solidFill>
                            <a:schemeClr val="tx1"/>
                          </a:solidFill>
                          <a:effectLst/>
                          <a:latin typeface="+mn-lt"/>
                          <a:ea typeface="+mn-ea"/>
                          <a:cs typeface="Arial"/>
                        </a:rPr>
                        <a:t>On payment completion are you sending remittance messages to suppliers with invoice details? If so, is the remittance advice content the same across all types of payments?</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560384">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9</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cap="none" baseline="0">
                          <a:solidFill>
                            <a:schemeClr val="tx1"/>
                          </a:solidFill>
                          <a:effectLst/>
                          <a:latin typeface="+mn-lt"/>
                          <a:ea typeface="+mn-ea"/>
                          <a:cs typeface="Arial"/>
                        </a:rPr>
                        <a:t>What are the payment formats generated to load payment files to banks (apart from the Israeli </a:t>
                      </a:r>
                      <a:r>
                        <a:rPr lang="en-US" sz="1200" b="0" i="0" u="none" strike="noStrike" kern="1200" cap="none" baseline="0" err="1">
                          <a:solidFill>
                            <a:schemeClr val="tx1"/>
                          </a:solidFill>
                          <a:effectLst/>
                          <a:latin typeface="+mn-lt"/>
                          <a:ea typeface="+mn-ea"/>
                          <a:cs typeface="Arial"/>
                        </a:rPr>
                        <a:t>Massad</a:t>
                      </a:r>
                      <a:r>
                        <a:rPr lang="en-US" sz="1200" b="0" i="0" u="none" strike="noStrike" kern="1200" cap="none" baseline="0">
                          <a:solidFill>
                            <a:schemeClr val="tx1"/>
                          </a:solidFill>
                          <a:effectLst/>
                          <a:latin typeface="+mn-lt"/>
                          <a:ea typeface="+mn-ea"/>
                          <a:cs typeface="Arial"/>
                        </a:rPr>
                        <a:t> format)?</a:t>
                      </a:r>
                    </a:p>
                    <a:p>
                      <a:pPr marL="0" marR="0" lvl="0" indent="0" algn="l" rtl="0" eaLnBrk="1" fontAlgn="auto" latinLnBrk="0" hangingPunct="1">
                        <a:lnSpc>
                          <a:spcPct val="100000"/>
                        </a:lnSpc>
                        <a:spcBef>
                          <a:spcPts val="0"/>
                        </a:spcBef>
                        <a:spcAft>
                          <a:spcPts val="0"/>
                        </a:spcAft>
                        <a:buClrTx/>
                        <a:buSzTx/>
                        <a:buFont typeface="Wingdings" panose="05000000000000000000" pitchFamily="2" charset="2"/>
                        <a:buNone/>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696394">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10</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cap="none" baseline="0">
                          <a:solidFill>
                            <a:schemeClr val="tx1"/>
                          </a:solidFill>
                          <a:effectLst/>
                          <a:latin typeface="+mn-lt"/>
                          <a:ea typeface="+mn-ea"/>
                          <a:cs typeface="Arial"/>
                        </a:rPr>
                        <a:t>Do we receive banks in standard formats (BAI2, SWIFT etc..) for all the bank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696394">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lang="en-US" sz="1200" b="0" i="0" u="none" strike="noStrike" kern="1200" cap="none" baseline="0">
                          <a:solidFill>
                            <a:schemeClr val="tx1"/>
                          </a:solidFill>
                          <a:effectLst/>
                          <a:latin typeface="+mn-lt"/>
                          <a:ea typeface="+mn-ea"/>
                          <a:cs typeface="Arial"/>
                        </a:rPr>
                        <a:t>11 </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cap="none" baseline="0">
                          <a:solidFill>
                            <a:schemeClr val="tx1"/>
                          </a:solidFill>
                          <a:effectLst/>
                          <a:latin typeface="+mn-lt"/>
                          <a:ea typeface="+mn-ea"/>
                          <a:cs typeface="Arial"/>
                        </a:rPr>
                        <a:t>Do you send positive pay files to the bank for Check payments? If yes, how frequently these files are transmitted to the bank?</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i="0" u="none" strike="noStrike" kern="1200" cap="none" baseline="0">
                        <a:solidFill>
                          <a:schemeClr val="tx1"/>
                        </a:solidFill>
                        <a:effectLst/>
                        <a:latin typeface="+mn-lt"/>
                        <a:ea typeface="+mn-ea"/>
                        <a:cs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baseline="0" noProof="0">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303290"/>
                  </a:ext>
                </a:extLst>
              </a:tr>
            </a:tbl>
          </a:graphicData>
        </a:graphic>
      </p:graphicFrame>
      <p:sp>
        <p:nvSpPr>
          <p:cNvPr id="5" name="Text Placeholder 12">
            <a:extLst>
              <a:ext uri="{FF2B5EF4-FFF2-40B4-BE49-F238E27FC236}">
                <a16:creationId xmlns:a16="http://schemas.microsoft.com/office/drawing/2014/main" id="{5735EB1C-169A-4EFB-AF98-CA84CB36889D}"/>
              </a:ext>
            </a:extLst>
          </p:cNvPr>
          <p:cNvSpPr txBox="1">
            <a:spLocks/>
          </p:cNvSpPr>
          <p:nvPr/>
        </p:nvSpPr>
        <p:spPr>
          <a:xfrm>
            <a:off x="501650" y="660429"/>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a:p>
        </p:txBody>
      </p:sp>
      <p:sp>
        <p:nvSpPr>
          <p:cNvPr id="6" name="Title 9">
            <a:extLst>
              <a:ext uri="{FF2B5EF4-FFF2-40B4-BE49-F238E27FC236}">
                <a16:creationId xmlns:a16="http://schemas.microsoft.com/office/drawing/2014/main" id="{BF93DE19-A19B-4910-BD4E-8E02B82F8C5F}"/>
              </a:ext>
            </a:extLst>
          </p:cNvPr>
          <p:cNvSpPr txBox="1">
            <a:spLocks/>
          </p:cNvSpPr>
          <p:nvPr/>
        </p:nvSpPr>
        <p:spPr bwMode="gray">
          <a:xfrm>
            <a:off x="501650" y="317500"/>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Review Action Items</a:t>
            </a:r>
          </a:p>
        </p:txBody>
      </p:sp>
      <p:sp>
        <p:nvSpPr>
          <p:cNvPr id="7" name="Text Placeholder 2">
            <a:extLst>
              <a:ext uri="{FF2B5EF4-FFF2-40B4-BE49-F238E27FC236}">
                <a16:creationId xmlns:a16="http://schemas.microsoft.com/office/drawing/2014/main" id="{827A3002-450F-469D-B917-B46831848A69}"/>
              </a:ext>
            </a:extLst>
          </p:cNvPr>
          <p:cNvSpPr>
            <a:spLocks noGrp="1"/>
          </p:cNvSpPr>
          <p:nvPr>
            <p:ph type="body" sz="quarter" idx="13"/>
          </p:nvPr>
        </p:nvSpPr>
        <p:spPr>
          <a:xfrm>
            <a:off x="469900" y="736688"/>
            <a:ext cx="11252200" cy="757255"/>
          </a:xfrm>
        </p:spPr>
        <p:txBody>
          <a:bodyPr/>
          <a:lstStyle/>
          <a:p>
            <a:r>
              <a:rPr lang="en-US"/>
              <a:t>Questions on current payment process</a:t>
            </a:r>
          </a:p>
          <a:p>
            <a:endParaRPr lang="en-US"/>
          </a:p>
        </p:txBody>
      </p:sp>
    </p:spTree>
    <p:extLst>
      <p:ext uri="{BB962C8B-B14F-4D97-AF65-F5344CB8AC3E}">
        <p14:creationId xmlns:p14="http://schemas.microsoft.com/office/powerpoint/2010/main" val="207129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1886195386"/>
              </p:ext>
            </p:extLst>
          </p:nvPr>
        </p:nvGraphicFramePr>
        <p:xfrm>
          <a:off x="501650" y="1950871"/>
          <a:ext cx="10907783" cy="2407920"/>
        </p:xfrm>
        <a:graphic>
          <a:graphicData uri="http://schemas.openxmlformats.org/drawingml/2006/table">
            <a:tbl>
              <a:tblPr firstRow="1" bandRow="1">
                <a:tableStyleId>{5C22544A-7EE6-4342-B048-85BDC9FD1C3A}</a:tableStyleId>
              </a:tblPr>
              <a:tblGrid>
                <a:gridCol w="979998">
                  <a:extLst>
                    <a:ext uri="{9D8B030D-6E8A-4147-A177-3AD203B41FA5}">
                      <a16:colId xmlns:a16="http://schemas.microsoft.com/office/drawing/2014/main" val="20000"/>
                    </a:ext>
                  </a:extLst>
                </a:gridCol>
                <a:gridCol w="2712224">
                  <a:extLst>
                    <a:ext uri="{9D8B030D-6E8A-4147-A177-3AD203B41FA5}">
                      <a16:colId xmlns:a16="http://schemas.microsoft.com/office/drawing/2014/main" val="20002"/>
                    </a:ext>
                  </a:extLst>
                </a:gridCol>
                <a:gridCol w="2411977">
                  <a:extLst>
                    <a:ext uri="{9D8B030D-6E8A-4147-A177-3AD203B41FA5}">
                      <a16:colId xmlns:a16="http://schemas.microsoft.com/office/drawing/2014/main" val="2031343793"/>
                    </a:ext>
                  </a:extLst>
                </a:gridCol>
                <a:gridCol w="4803584">
                  <a:extLst>
                    <a:ext uri="{9D8B030D-6E8A-4147-A177-3AD203B41FA5}">
                      <a16:colId xmlns:a16="http://schemas.microsoft.com/office/drawing/2014/main" val="2042509979"/>
                    </a:ext>
                  </a:extLst>
                </a:gridCol>
              </a:tblGrid>
              <a:tr h="0">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Data element   </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kumimoji="0" lang="en-US" sz="1400" b="1" i="0" u="none" strike="noStrike" cap="none" normalizeH="0" baseline="0">
                          <a:ln>
                            <a:noFill/>
                          </a:ln>
                          <a:solidFill>
                            <a:schemeClr val="tx1"/>
                          </a:solidFill>
                          <a:effectLst/>
                          <a:latin typeface="+mn-lt"/>
                        </a:rPr>
                        <a:t>Comment</a:t>
                      </a:r>
                      <a:r>
                        <a:rPr lang="en-US" sz="1400" b="1" i="0" u="none" strike="noStrike" cap="none" normalizeH="0" baseline="0">
                          <a:ln>
                            <a:noFill/>
                          </a:ln>
                          <a:solidFill>
                            <a:schemeClr val="tx1"/>
                          </a:solidFill>
                          <a:effectLst/>
                          <a:latin typeface="+mn-lt"/>
                        </a:rPr>
                        <a:t> </a:t>
                      </a:r>
                      <a:endParaRPr kumimoji="0" lang="en-US" sz="14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a:ln>
                            <a:noFill/>
                          </a:ln>
                          <a:solidFill>
                            <a:schemeClr val="tx1"/>
                          </a:solidFill>
                          <a:effectLst/>
                          <a:latin typeface="+mn-lt"/>
                        </a:rPr>
                        <a:t>Extraction Criteria (recommended)</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175">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rtl="0" eaLnBrk="1" fontAlgn="t" latinLnBrk="0" hangingPunct="1">
                        <a:lnSpc>
                          <a:spcPct val="100000"/>
                        </a:lnSpc>
                        <a:spcBef>
                          <a:spcPts val="0"/>
                        </a:spcBef>
                        <a:spcAft>
                          <a:spcPts val="0"/>
                        </a:spcAft>
                        <a:buClr>
                          <a:srgbClr val="000000"/>
                        </a:buClr>
                        <a:buSzTx/>
                        <a:buFont typeface="Arial"/>
                        <a:buNone/>
                      </a:pPr>
                      <a:r>
                        <a:rPr lang="en-US" sz="1200" b="0" i="0" u="none" strike="noStrike" kern="1200" cap="none">
                          <a:solidFill>
                            <a:schemeClr val="tx1"/>
                          </a:solidFill>
                          <a:effectLst/>
                          <a:latin typeface="+mn-lt"/>
                          <a:ea typeface="+mn-ea"/>
                          <a:cs typeface="Arial" panose="020B0604020202020204" pitchFamily="34" charset="0"/>
                          <a:sym typeface="Arial"/>
                        </a:rPr>
                        <a:t>Supplier updates for payment and bank related information.</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r>
                        <a:rPr lang="en-US" sz="1200" b="0" i="0" u="none" strike="noStrike" kern="1200" cap="none">
                          <a:solidFill>
                            <a:schemeClr val="tx1"/>
                          </a:solidFill>
                          <a:effectLst/>
                          <a:latin typeface="+mn-lt"/>
                          <a:ea typeface="+mn-ea"/>
                          <a:cs typeface="Arial" panose="020B0604020202020204" pitchFamily="34" charset="0"/>
                        </a:rPr>
                        <a:t>                 </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a:ln>
                            <a:noFill/>
                          </a:ln>
                          <a:solidFill>
                            <a:schemeClr val="tx1"/>
                          </a:solidFill>
                          <a:effectLst/>
                          <a:latin typeface="+mn-lt"/>
                          <a:ea typeface="+mn-ea"/>
                          <a:cs typeface="+mn-cs"/>
                        </a:rPr>
                        <a:t>7</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532844"/>
                  </a:ext>
                </a:extLst>
              </a:tr>
            </a:tbl>
          </a:graphicData>
        </a:graphic>
      </p:graphicFrame>
      <p:sp>
        <p:nvSpPr>
          <p:cNvPr id="5" name="Text Placeholder 12">
            <a:extLst>
              <a:ext uri="{FF2B5EF4-FFF2-40B4-BE49-F238E27FC236}">
                <a16:creationId xmlns:a16="http://schemas.microsoft.com/office/drawing/2014/main" id="{5735EB1C-169A-4EFB-AF98-CA84CB36889D}"/>
              </a:ext>
            </a:extLst>
          </p:cNvPr>
          <p:cNvSpPr txBox="1">
            <a:spLocks/>
          </p:cNvSpPr>
          <p:nvPr/>
        </p:nvSpPr>
        <p:spPr>
          <a:xfrm>
            <a:off x="501650" y="80365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Following table represents scope for master/transactional data conversions</a:t>
            </a:r>
          </a:p>
        </p:txBody>
      </p:sp>
      <p:sp>
        <p:nvSpPr>
          <p:cNvPr id="6" name="Title 9">
            <a:extLst>
              <a:ext uri="{FF2B5EF4-FFF2-40B4-BE49-F238E27FC236}">
                <a16:creationId xmlns:a16="http://schemas.microsoft.com/office/drawing/2014/main" id="{BF93DE19-A19B-4910-BD4E-8E02B82F8C5F}"/>
              </a:ext>
            </a:extLst>
          </p:cNvPr>
          <p:cNvSpPr txBox="1">
            <a:spLocks/>
          </p:cNvSpPr>
          <p:nvPr/>
        </p:nvSpPr>
        <p:spPr bwMode="gray">
          <a:xfrm>
            <a:off x="479616" y="438687"/>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Conversion – Data Elements </a:t>
            </a:r>
          </a:p>
        </p:txBody>
      </p:sp>
    </p:spTree>
    <p:extLst>
      <p:ext uri="{BB962C8B-B14F-4D97-AF65-F5344CB8AC3E}">
        <p14:creationId xmlns:p14="http://schemas.microsoft.com/office/powerpoint/2010/main" val="422069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extLst>
              <p:ext uri="{D42A27DB-BD31-4B8C-83A1-F6EECF244321}">
                <p14:modId xmlns:p14="http://schemas.microsoft.com/office/powerpoint/2010/main" val="3269513726"/>
              </p:ext>
            </p:extLst>
          </p:nvPr>
        </p:nvGraphicFramePr>
        <p:xfrm>
          <a:off x="835844" y="1964963"/>
          <a:ext cx="10520312" cy="2438400"/>
        </p:xfrm>
        <a:graphic>
          <a:graphicData uri="http://schemas.openxmlformats.org/drawingml/2006/table">
            <a:tbl>
              <a:tblPr firstRow="1" bandRow="1">
                <a:tableStyleId>{5C22544A-7EE6-4342-B048-85BDC9FD1C3A}</a:tableStyleId>
              </a:tblPr>
              <a:tblGrid>
                <a:gridCol w="945186">
                  <a:extLst>
                    <a:ext uri="{9D8B030D-6E8A-4147-A177-3AD203B41FA5}">
                      <a16:colId xmlns:a16="http://schemas.microsoft.com/office/drawing/2014/main" val="20000"/>
                    </a:ext>
                  </a:extLst>
                </a:gridCol>
                <a:gridCol w="2615879">
                  <a:extLst>
                    <a:ext uri="{9D8B030D-6E8A-4147-A177-3AD203B41FA5}">
                      <a16:colId xmlns:a16="http://schemas.microsoft.com/office/drawing/2014/main" val="20002"/>
                    </a:ext>
                  </a:extLst>
                </a:gridCol>
                <a:gridCol w="2326298">
                  <a:extLst>
                    <a:ext uri="{9D8B030D-6E8A-4147-A177-3AD203B41FA5}">
                      <a16:colId xmlns:a16="http://schemas.microsoft.com/office/drawing/2014/main" val="2031343793"/>
                    </a:ext>
                  </a:extLst>
                </a:gridCol>
                <a:gridCol w="4632949">
                  <a:extLst>
                    <a:ext uri="{9D8B030D-6E8A-4147-A177-3AD203B41FA5}">
                      <a16:colId xmlns:a16="http://schemas.microsoft.com/office/drawing/2014/main" val="2042509979"/>
                    </a:ext>
                  </a:extLst>
                </a:gridCol>
              </a:tblGrid>
              <a:tr h="0">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dirty="0">
                          <a:ln>
                            <a:noFill/>
                          </a:ln>
                          <a:solidFill>
                            <a:schemeClr val="tx1"/>
                          </a:solidFill>
                          <a:effectLst/>
                          <a:latin typeface="+mn-lt"/>
                        </a:rPr>
                        <a:t>No</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1"/>
                          </a:solidFill>
                        </a:rPr>
                        <a:t>Integration</a:t>
                      </a:r>
                    </a:p>
                  </a:txBody>
                  <a:tcP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1"/>
                          </a:solidFill>
                        </a:rPr>
                        <a:t>Source System</a:t>
                      </a:r>
                    </a:p>
                  </a:txBody>
                  <a:tcP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1"/>
                          </a:solidFill>
                        </a:rPr>
                        <a:t>Target System</a:t>
                      </a:r>
                    </a:p>
                  </a:txBody>
                  <a:tcP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175">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dirty="0">
                          <a:ln>
                            <a:noFill/>
                          </a:ln>
                          <a:solidFill>
                            <a:schemeClr val="tx1"/>
                          </a:solidFill>
                          <a:effectLst/>
                          <a:latin typeface="+mn-lt"/>
                          <a:ea typeface="+mn-ea"/>
                          <a:cs typeface="+mn-cs"/>
                        </a:rPr>
                        <a:t>1</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lang="en-US" sz="1200" b="0" i="0" u="none" strike="noStrike" kern="1200" cap="none" dirty="0">
                          <a:solidFill>
                            <a:schemeClr val="tx1"/>
                          </a:solidFill>
                          <a:effectLst/>
                          <a:latin typeface="+mn-lt"/>
                          <a:ea typeface="+mn-ea"/>
                          <a:cs typeface="Arial"/>
                          <a:sym typeface="Arial"/>
                        </a:rPr>
                        <a:t>Payment Data Outbound to TM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r>
                        <a:rPr lang="en-US" sz="1200" b="0" i="0" u="none" strike="noStrike" kern="1200" cap="none" dirty="0">
                          <a:solidFill>
                            <a:schemeClr val="tx1"/>
                          </a:solidFill>
                          <a:effectLst/>
                          <a:latin typeface="+mn-lt"/>
                          <a:ea typeface="+mn-ea"/>
                          <a:cs typeface="Arial"/>
                          <a:sym typeface="Arial"/>
                        </a:rPr>
                        <a:t>Treasury Management System (TMS)</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dirty="0">
                          <a:ln>
                            <a:noFill/>
                          </a:ln>
                          <a:solidFill>
                            <a:schemeClr val="tx1"/>
                          </a:solidFill>
                          <a:effectLst/>
                          <a:latin typeface="+mn-lt"/>
                          <a:ea typeface="+mn-ea"/>
                          <a:cs typeface="+mn-cs"/>
                        </a:rPr>
                        <a:t>2</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r>
                        <a:rPr lang="en-US" sz="1200" b="0" i="0" u="none" strike="noStrike" kern="1200" cap="none" dirty="0">
                          <a:solidFill>
                            <a:schemeClr val="tx1"/>
                          </a:solidFill>
                          <a:effectLst/>
                          <a:latin typeface="+mn-lt"/>
                          <a:ea typeface="+mn-ea"/>
                          <a:cs typeface="Arial"/>
                        </a:rPr>
                        <a:t>Payment Data Outbound to DWH</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r>
                        <a:rPr lang="en-US" sz="1200" b="0" i="0" u="none" strike="noStrike" kern="1200" cap="none" dirty="0">
                          <a:solidFill>
                            <a:schemeClr val="tx1"/>
                          </a:solidFill>
                          <a:effectLst/>
                          <a:latin typeface="+mn-lt"/>
                          <a:ea typeface="+mn-ea"/>
                          <a:cs typeface="Arial"/>
                        </a:rPr>
                        <a:t>Dataware House (DWH)</a:t>
                      </a:r>
                      <a:endParaRPr lang="en-US" sz="1200" b="0" i="0" u="none" strike="noStrike" kern="1200" cap="none" dirty="0">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dirty="0">
                          <a:ln>
                            <a:noFill/>
                          </a:ln>
                          <a:solidFill>
                            <a:schemeClr val="tx1"/>
                          </a:solidFill>
                          <a:effectLst/>
                          <a:latin typeface="+mn-lt"/>
                          <a:ea typeface="+mn-ea"/>
                          <a:cs typeface="+mn-cs"/>
                        </a:rPr>
                        <a:t>3</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b="0" i="0" u="none" strike="noStrike" kern="1200" cap="none" dirty="0">
                          <a:solidFill>
                            <a:schemeClr val="tx1"/>
                          </a:solidFill>
                          <a:effectLst/>
                          <a:latin typeface="+mn-lt"/>
                          <a:ea typeface="+mn-ea"/>
                          <a:cs typeface="Arial"/>
                        </a:rPr>
                        <a:t>Bank Statements inbound from BANK</a:t>
                      </a:r>
                      <a:endParaRPr lang="en-US" sz="1200" b="0" i="0" u="none" strike="noStrike" kern="1200" cap="none" dirty="0">
                        <a:solidFill>
                          <a:schemeClr val="tx1"/>
                        </a:solidFill>
                        <a:effectLst/>
                        <a:latin typeface="+mn-lt"/>
                        <a:ea typeface="+mn-ea"/>
                        <a:cs typeface="Arial" panose="020B0604020202020204" pitchFamily="34" charset="0"/>
                      </a:endParaRPr>
                    </a:p>
                  </a:txBody>
                  <a:tcPr marL="6350" marR="6350" marT="6350" marB="0" anchor="b">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r>
                        <a:rPr lang="en-US" sz="1200" b="0" i="0" u="none" strike="noStrike" kern="1200" cap="none" dirty="0">
                          <a:solidFill>
                            <a:schemeClr val="tx1"/>
                          </a:solidFill>
                          <a:effectLst/>
                          <a:latin typeface="+mn-lt"/>
                          <a:ea typeface="+mn-ea"/>
                          <a:cs typeface="Arial"/>
                        </a:rPr>
                        <a:t>BANK</a:t>
                      </a: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just" defTabSz="914400" rtl="0" eaLnBrk="1" latinLnBrk="0" hangingPunct="1">
                        <a:buFont typeface="Wingdings" panose="05000000000000000000" pitchFamily="2" charset="2"/>
                        <a:buNone/>
                      </a:pPr>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dirty="0">
                          <a:ln>
                            <a:noFill/>
                          </a:ln>
                          <a:solidFill>
                            <a:schemeClr val="tx1"/>
                          </a:solidFill>
                          <a:effectLst/>
                          <a:latin typeface="+mn-lt"/>
                          <a:ea typeface="+mn-ea"/>
                          <a:cs typeface="+mn-cs"/>
                        </a:rPr>
                        <a:t>4</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US" sz="1200" b="0" i="0" u="none" strike="noStrike" kern="1200" cap="none">
                        <a:solidFill>
                          <a:schemeClr val="tx1"/>
                        </a:solidFill>
                        <a:effectLst/>
                        <a:latin typeface="+mn-lt"/>
                        <a:ea typeface="+mn-ea"/>
                        <a:cs typeface="Arial" panose="020B0604020202020204" pitchFamily="34" charset="0"/>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92816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dirty="0">
                          <a:ln>
                            <a:noFill/>
                          </a:ln>
                          <a:solidFill>
                            <a:schemeClr val="tx1"/>
                          </a:solidFill>
                          <a:effectLst/>
                          <a:latin typeface="+mn-lt"/>
                          <a:ea typeface="+mn-ea"/>
                          <a:cs typeface="+mn-cs"/>
                        </a:rPr>
                        <a:t>5</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261436"/>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dirty="0">
                          <a:ln>
                            <a:noFill/>
                          </a:ln>
                          <a:solidFill>
                            <a:schemeClr val="tx1"/>
                          </a:solidFill>
                          <a:effectLst/>
                          <a:latin typeface="+mn-lt"/>
                          <a:ea typeface="+mn-ea"/>
                          <a:cs typeface="+mn-cs"/>
                        </a:rPr>
                        <a:t>6</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244702"/>
                  </a:ext>
                </a:extLst>
              </a:tr>
              <a:tr h="129662">
                <a:tc>
                  <a:txBody>
                    <a:bodyPr/>
                    <a:lstStyle/>
                    <a:p>
                      <a:pPr marL="0" marR="0" lvl="0" indent="0" algn="ctr" defTabSz="914400" rtl="0" eaLnBrk="1" fontAlgn="base" latinLnBrk="0" hangingPunct="1">
                        <a:lnSpc>
                          <a:spcPct val="100000"/>
                        </a:lnSpc>
                        <a:spcBef>
                          <a:spcPts val="300"/>
                        </a:spcBef>
                        <a:spcAft>
                          <a:spcPts val="300"/>
                        </a:spcAft>
                        <a:buClr>
                          <a:schemeClr val="tx1"/>
                        </a:buClr>
                        <a:buSzPct val="90000"/>
                        <a:buFont typeface="Wingdings" pitchFamily="2" charset="2"/>
                        <a:buNone/>
                        <a:tabLst/>
                      </a:pPr>
                      <a:r>
                        <a:rPr kumimoji="0" lang="en-US" sz="1200" b="0" i="0" u="none" strike="noStrike" kern="1200" cap="none" normalizeH="0" baseline="0" dirty="0">
                          <a:ln>
                            <a:noFill/>
                          </a:ln>
                          <a:solidFill>
                            <a:schemeClr val="tx1"/>
                          </a:solidFill>
                          <a:effectLst/>
                          <a:latin typeface="+mn-lt"/>
                          <a:ea typeface="+mn-ea"/>
                          <a:cs typeface="+mn-cs"/>
                        </a:rPr>
                        <a:t>7</a:t>
                      </a: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t" latinLnBrk="0" hangingPunct="1">
                        <a:lnSpc>
                          <a:spcPct val="100000"/>
                        </a:lnSpc>
                        <a:spcBef>
                          <a:spcPts val="0"/>
                        </a:spcBef>
                        <a:spcAft>
                          <a:spcPts val="0"/>
                        </a:spcAft>
                        <a:buClr>
                          <a:srgbClr val="000000"/>
                        </a:buClr>
                        <a:buSzTx/>
                        <a:buFont typeface="Arial"/>
                        <a:buNone/>
                        <a:tabLst/>
                        <a:defRPr/>
                      </a:pPr>
                      <a:endParaRPr lang="en-US" sz="1200" b="0" i="0" u="none" strike="noStrike" kern="1200" cap="none">
                        <a:solidFill>
                          <a:schemeClr val="tx1"/>
                        </a:solidFill>
                        <a:effectLst/>
                        <a:latin typeface="+mn-lt"/>
                        <a:ea typeface="+mn-ea"/>
                        <a:cs typeface="Arial" panose="020B0604020202020204" pitchFamily="34" charset="0"/>
                        <a:sym typeface="Arial"/>
                      </a:endParaRPr>
                    </a:p>
                  </a:txBody>
                  <a:tcPr marL="45720" marR="45720">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532844"/>
                  </a:ext>
                </a:extLst>
              </a:tr>
            </a:tbl>
          </a:graphicData>
        </a:graphic>
      </p:graphicFrame>
      <p:sp>
        <p:nvSpPr>
          <p:cNvPr id="5" name="Text Placeholder 12">
            <a:extLst>
              <a:ext uri="{FF2B5EF4-FFF2-40B4-BE49-F238E27FC236}">
                <a16:creationId xmlns:a16="http://schemas.microsoft.com/office/drawing/2014/main" id="{E2432075-AE4F-4ACE-9F2B-F4FD5211368E}"/>
              </a:ext>
            </a:extLst>
          </p:cNvPr>
          <p:cNvSpPr txBox="1">
            <a:spLocks/>
          </p:cNvSpPr>
          <p:nvPr/>
        </p:nvSpPr>
        <p:spPr>
          <a:xfrm>
            <a:off x="501650" y="909223"/>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Following table represents scope for integrations with edge applications as per current landscape</a:t>
            </a:r>
          </a:p>
        </p:txBody>
      </p:sp>
      <p:sp>
        <p:nvSpPr>
          <p:cNvPr id="6" name="Title 9">
            <a:extLst>
              <a:ext uri="{FF2B5EF4-FFF2-40B4-BE49-F238E27FC236}">
                <a16:creationId xmlns:a16="http://schemas.microsoft.com/office/drawing/2014/main" id="{45F09C19-FA0D-4FC7-BB67-F5E4814D6196}"/>
              </a:ext>
            </a:extLst>
          </p:cNvPr>
          <p:cNvSpPr txBox="1">
            <a:spLocks/>
          </p:cNvSpPr>
          <p:nvPr/>
        </p:nvSpPr>
        <p:spPr bwMode="gray">
          <a:xfrm>
            <a:off x="501650" y="542073"/>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dirty="0">
                <a:solidFill>
                  <a:schemeClr val="tx1"/>
                </a:solidFill>
                <a:latin typeface="+mj-lt"/>
                <a:cs typeface="Calibri Light"/>
              </a:rPr>
              <a:t>Key Integrations </a:t>
            </a:r>
          </a:p>
        </p:txBody>
      </p:sp>
    </p:spTree>
    <p:extLst>
      <p:ext uri="{BB962C8B-B14F-4D97-AF65-F5344CB8AC3E}">
        <p14:creationId xmlns:p14="http://schemas.microsoft.com/office/powerpoint/2010/main" val="299290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90777" y="2125347"/>
            <a:ext cx="10418233" cy="680995"/>
          </a:xfrm>
        </p:spPr>
        <p:txBody>
          <a:bodyPr/>
          <a:lstStyle/>
          <a:p>
            <a:r>
              <a:rPr lang="en-US"/>
              <a:t>Appendix</a:t>
            </a:r>
          </a:p>
        </p:txBody>
      </p:sp>
    </p:spTree>
    <p:extLst>
      <p:ext uri="{BB962C8B-B14F-4D97-AF65-F5344CB8AC3E}">
        <p14:creationId xmlns:p14="http://schemas.microsoft.com/office/powerpoint/2010/main" val="3168740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72D0A68-154A-4DD3-B78F-0372FBAB1DE0}"/>
              </a:ext>
            </a:extLst>
          </p:cNvPr>
          <p:cNvSpPr txBox="1"/>
          <p:nvPr/>
        </p:nvSpPr>
        <p:spPr>
          <a:xfrm>
            <a:off x="526259" y="1684265"/>
            <a:ext cx="11252200" cy="400110"/>
          </a:xfrm>
          <a:prstGeom prst="rect">
            <a:avLst/>
          </a:prstGeom>
          <a:noFill/>
        </p:spPr>
        <p:txBody>
          <a:bodyPr wrap="square" lIns="0" tIns="0" rIns="0" bIns="0" rtlCol="0" anchor="t">
            <a:spAutoFit/>
          </a:bodyPr>
          <a:lstStyle/>
          <a:p>
            <a:pPr marL="285750" indent="-285750">
              <a:spcBef>
                <a:spcPts val="600"/>
              </a:spcBef>
              <a:buSzPct val="100000"/>
              <a:buFont typeface="Arial" panose="020B0604020202020204" pitchFamily="34" charset="0"/>
              <a:buChar char="•"/>
            </a:pPr>
            <a:endParaRPr lang="en-US" sz="1400">
              <a:solidFill>
                <a:srgbClr val="313131"/>
              </a:solidFill>
              <a:cs typeface="Calibri"/>
            </a:endParaRPr>
          </a:p>
          <a:p>
            <a:pPr marL="171450" indent="-171450">
              <a:buFont typeface="Arial" panose="020B0604020202020204" pitchFamily="34" charset="0"/>
              <a:buChar char="•"/>
            </a:pPr>
            <a:endParaRPr lang="en-US" sz="1200">
              <a:solidFill>
                <a:srgbClr val="313131"/>
              </a:solidFill>
            </a:endParaRPr>
          </a:p>
        </p:txBody>
      </p:sp>
      <p:sp>
        <p:nvSpPr>
          <p:cNvPr id="5" name="Text Placeholder 12">
            <a:extLst>
              <a:ext uri="{FF2B5EF4-FFF2-40B4-BE49-F238E27FC236}">
                <a16:creationId xmlns:a16="http://schemas.microsoft.com/office/drawing/2014/main" id="{47C6644F-EC13-42DD-AEE3-51928206F087}"/>
              </a:ext>
            </a:extLst>
          </p:cNvPr>
          <p:cNvSpPr txBox="1">
            <a:spLocks/>
          </p:cNvSpPr>
          <p:nvPr/>
        </p:nvSpPr>
        <p:spPr>
          <a:xfrm>
            <a:off x="558009" y="92701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a:p>
        </p:txBody>
      </p:sp>
      <p:sp>
        <p:nvSpPr>
          <p:cNvPr id="36" name="Title 3">
            <a:extLst>
              <a:ext uri="{FF2B5EF4-FFF2-40B4-BE49-F238E27FC236}">
                <a16:creationId xmlns:a16="http://schemas.microsoft.com/office/drawing/2014/main" id="{3201C2AD-A73C-4875-85AB-65F148EA4244}"/>
              </a:ext>
            </a:extLst>
          </p:cNvPr>
          <p:cNvSpPr txBox="1">
            <a:spLocks/>
          </p:cNvSpPr>
          <p:nvPr/>
        </p:nvSpPr>
        <p:spPr bwMode="gray">
          <a:xfrm>
            <a:off x="469900" y="347273"/>
            <a:ext cx="11252200" cy="53158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endParaRPr lang="en-US" altLang="en-US">
              <a:latin typeface="+mn-lt"/>
            </a:endParaRPr>
          </a:p>
        </p:txBody>
      </p:sp>
      <p:sp>
        <p:nvSpPr>
          <p:cNvPr id="33" name="Title 3">
            <a:extLst>
              <a:ext uri="{FF2B5EF4-FFF2-40B4-BE49-F238E27FC236}">
                <a16:creationId xmlns:a16="http://schemas.microsoft.com/office/drawing/2014/main" id="{FA2C2F50-D5CC-400F-A4E3-478C4D2AED37}"/>
              </a:ext>
            </a:extLst>
          </p:cNvPr>
          <p:cNvSpPr txBox="1">
            <a:spLocks/>
          </p:cNvSpPr>
          <p:nvPr/>
        </p:nvSpPr>
        <p:spPr bwMode="gray">
          <a:xfrm>
            <a:off x="501650" y="447269"/>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US" sz="3000" b="1">
                <a:cs typeface="Calibri Light"/>
              </a:rPr>
              <a:t>Payments: Key Features</a:t>
            </a:r>
          </a:p>
        </p:txBody>
      </p:sp>
      <p:sp>
        <p:nvSpPr>
          <p:cNvPr id="34" name="Text Placeholder 12">
            <a:extLst>
              <a:ext uri="{FF2B5EF4-FFF2-40B4-BE49-F238E27FC236}">
                <a16:creationId xmlns:a16="http://schemas.microsoft.com/office/drawing/2014/main" id="{4157B8F8-01E9-48EF-9D74-1213712BB293}"/>
              </a:ext>
            </a:extLst>
          </p:cNvPr>
          <p:cNvSpPr txBox="1">
            <a:spLocks/>
          </p:cNvSpPr>
          <p:nvPr/>
        </p:nvSpPr>
        <p:spPr>
          <a:xfrm>
            <a:off x="558009" y="924575"/>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Key Features for Oracle Payments are as below:</a:t>
            </a:r>
          </a:p>
        </p:txBody>
      </p:sp>
      <p:graphicFrame>
        <p:nvGraphicFramePr>
          <p:cNvPr id="31" name="Content Placeholder 6">
            <a:extLst>
              <a:ext uri="{FF2B5EF4-FFF2-40B4-BE49-F238E27FC236}">
                <a16:creationId xmlns:a16="http://schemas.microsoft.com/office/drawing/2014/main" id="{86D29932-240A-4696-A6BC-848BC6CFD33E}"/>
              </a:ext>
            </a:extLst>
          </p:cNvPr>
          <p:cNvGraphicFramePr>
            <a:graphicFrameLocks/>
          </p:cNvGraphicFramePr>
          <p:nvPr>
            <p:extLst>
              <p:ext uri="{D42A27DB-BD31-4B8C-83A1-F6EECF244321}">
                <p14:modId xmlns:p14="http://schemas.microsoft.com/office/powerpoint/2010/main" val="3281166937"/>
              </p:ext>
            </p:extLst>
          </p:nvPr>
        </p:nvGraphicFramePr>
        <p:xfrm>
          <a:off x="595645" y="1419950"/>
          <a:ext cx="11000709" cy="4511040"/>
        </p:xfrm>
        <a:graphic>
          <a:graphicData uri="http://schemas.openxmlformats.org/drawingml/2006/table">
            <a:tbl>
              <a:tblPr firstRow="1" bandRow="1">
                <a:tableStyleId>{5C22544A-7EE6-4342-B048-85BDC9FD1C3A}</a:tableStyleId>
              </a:tblPr>
              <a:tblGrid>
                <a:gridCol w="2717146">
                  <a:extLst>
                    <a:ext uri="{9D8B030D-6E8A-4147-A177-3AD203B41FA5}">
                      <a16:colId xmlns:a16="http://schemas.microsoft.com/office/drawing/2014/main" val="20000"/>
                    </a:ext>
                  </a:extLst>
                </a:gridCol>
                <a:gridCol w="8283563">
                  <a:extLst>
                    <a:ext uri="{9D8B030D-6E8A-4147-A177-3AD203B41FA5}">
                      <a16:colId xmlns:a16="http://schemas.microsoft.com/office/drawing/2014/main" val="20002"/>
                    </a:ext>
                  </a:extLst>
                </a:gridCol>
              </a:tblGrid>
              <a:tr h="0">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400" b="1" i="0" u="none" strike="noStrike" cap="none" normalizeH="0" baseline="0" dirty="0">
                          <a:ln>
                            <a:noFill/>
                          </a:ln>
                          <a:solidFill>
                            <a:schemeClr val="tx1"/>
                          </a:solidFill>
                          <a:effectLst/>
                          <a:latin typeface="+mn-lt"/>
                        </a:rPr>
                        <a:t>Features</a:t>
                      </a:r>
                    </a:p>
                  </a:txBody>
                  <a:tcPr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400" b="1" i="0" u="none" strike="noStrike" cap="none" normalizeH="0" baseline="0" dirty="0">
                          <a:ln>
                            <a:noFill/>
                          </a:ln>
                          <a:solidFill>
                            <a:schemeClr val="tx1"/>
                          </a:solidFill>
                          <a:effectLst/>
                          <a:latin typeface="+mn-lt"/>
                        </a:rPr>
                        <a:t> </a:t>
                      </a:r>
                      <a:r>
                        <a:rPr kumimoji="0" lang="en-US" sz="1400" b="1" i="0" u="none" strike="noStrike" cap="none" normalizeH="0" baseline="0" dirty="0">
                          <a:ln>
                            <a:noFill/>
                          </a:ln>
                          <a:solidFill>
                            <a:schemeClr val="tx1"/>
                          </a:solidFill>
                          <a:effectLst/>
                          <a:latin typeface="+mn-lt"/>
                        </a:rPr>
                        <a:t>Benefits</a:t>
                      </a:r>
                    </a:p>
                  </a:txBody>
                  <a:tcPr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1903">
                <a:tc>
                  <a:txBody>
                    <a:bodyPr/>
                    <a:lstStyle/>
                    <a:p>
                      <a:pPr algn="ctr" defTabSz="914400">
                        <a:lnSpc>
                          <a:spcPct val="106000"/>
                        </a:lnSpc>
                        <a:defRPr/>
                      </a:pPr>
                      <a:r>
                        <a:rPr lang="en-US" sz="1200" b="1" dirty="0">
                          <a:solidFill>
                            <a:schemeClr val="tx1"/>
                          </a:solidFill>
                        </a:rPr>
                        <a:t>Manage Payment Process Requests</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b="0" i="0" kern="1200" dirty="0">
                          <a:solidFill>
                            <a:schemeClr val="dk1"/>
                          </a:solidFill>
                          <a:effectLst/>
                          <a:latin typeface="+mn-lt"/>
                          <a:ea typeface="+mn-ea"/>
                          <a:cs typeface="+mn-cs"/>
                        </a:rPr>
                        <a:t>A payment process request is a group of invoices or invoice installments submitted for payments.</a:t>
                      </a:r>
                    </a:p>
                    <a:p>
                      <a:pPr marL="285750" indent="-285750">
                        <a:buFont typeface="Arial" panose="020B0604020202020204" pitchFamily="34" charset="0"/>
                        <a:buChar char="•"/>
                      </a:pPr>
                      <a:r>
                        <a:rPr lang="en-US" sz="1200" b="0" i="0" kern="1200" dirty="0">
                          <a:solidFill>
                            <a:schemeClr val="dk1"/>
                          </a:solidFill>
                          <a:effectLst/>
                          <a:latin typeface="+mn-lt"/>
                          <a:ea typeface="+mn-ea"/>
                          <a:cs typeface="+mn-cs"/>
                        </a:rPr>
                        <a:t>Payment process request let business to specify</a:t>
                      </a:r>
                    </a:p>
                    <a:p>
                      <a:pPr marL="742950" lvl="1" indent="-285750">
                        <a:buFont typeface="Arial" panose="020B0604020202020204" pitchFamily="34" charset="0"/>
                        <a:buChar char="•"/>
                      </a:pPr>
                      <a:r>
                        <a:rPr lang="en-US" sz="1200" b="0" i="0" kern="1200" dirty="0">
                          <a:solidFill>
                            <a:schemeClr val="dk1"/>
                          </a:solidFill>
                          <a:effectLst/>
                          <a:latin typeface="+mn-lt"/>
                          <a:ea typeface="+mn-ea"/>
                          <a:cs typeface="+mn-cs"/>
                        </a:rPr>
                        <a:t>Selection criteria such as invoice business unit, payment business unit, and payment priority determine which installments are selected for payment.</a:t>
                      </a:r>
                    </a:p>
                    <a:p>
                      <a:pPr marL="742950" lvl="1" indent="-285750">
                        <a:buFont typeface="Arial" panose="020B0604020202020204" pitchFamily="34" charset="0"/>
                        <a:buChar char="•"/>
                      </a:pPr>
                      <a:r>
                        <a:rPr lang="en-US" sz="1200" b="0" i="0" kern="1200" dirty="0">
                          <a:solidFill>
                            <a:schemeClr val="dk1"/>
                          </a:solidFill>
                          <a:effectLst/>
                          <a:latin typeface="+mn-lt"/>
                          <a:ea typeface="+mn-ea"/>
                          <a:cs typeface="+mn-cs"/>
                        </a:rPr>
                        <a:t>Payment attributes like payment date, payment process profile.</a:t>
                      </a:r>
                    </a:p>
                    <a:p>
                      <a:pPr marL="742950" lvl="1" indent="-285750">
                        <a:buFont typeface="Arial" panose="020B0604020202020204" pitchFamily="34" charset="0"/>
                        <a:buChar char="•"/>
                      </a:pPr>
                      <a:r>
                        <a:rPr lang="en-US" sz="1200" b="0" i="0" kern="1200" dirty="0">
                          <a:solidFill>
                            <a:schemeClr val="dk1"/>
                          </a:solidFill>
                          <a:effectLst/>
                          <a:latin typeface="+mn-lt"/>
                          <a:ea typeface="+mn-ea"/>
                          <a:cs typeface="+mn-cs"/>
                        </a:rPr>
                        <a:t>Processing options for a payment process request determine the level of automation for that request</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19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Manage Payment Process Templates</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b="0" i="0" kern="1200" dirty="0">
                          <a:solidFill>
                            <a:schemeClr val="dk1"/>
                          </a:solidFill>
                          <a:effectLst/>
                          <a:latin typeface="+mn-lt"/>
                          <a:ea typeface="+mn-ea"/>
                          <a:cs typeface="+mn-cs"/>
                        </a:rPr>
                        <a:t>Payment process template minimize the data entry for frequently used payment processing settings</a:t>
                      </a:r>
                    </a:p>
                    <a:p>
                      <a:pPr marL="285750" indent="-285750">
                        <a:buFont typeface="Arial" panose="020B0604020202020204" pitchFamily="34" charset="0"/>
                        <a:buChar char="•"/>
                      </a:pPr>
                      <a:r>
                        <a:rPr lang="en-US" sz="1200" b="0" i="0" kern="1200" dirty="0">
                          <a:solidFill>
                            <a:schemeClr val="dk1"/>
                          </a:solidFill>
                          <a:effectLst/>
                          <a:latin typeface="+mn-lt"/>
                          <a:ea typeface="+mn-ea"/>
                          <a:cs typeface="+mn-cs"/>
                        </a:rPr>
                        <a:t>Identify cash requirements by running the Payables Cash Requirement report against the template</a:t>
                      </a:r>
                    </a:p>
                    <a:p>
                      <a:pPr marL="285750" indent="-285750">
                        <a:buFont typeface="Arial" panose="020B0604020202020204" pitchFamily="34" charset="0"/>
                        <a:buChar char="•"/>
                      </a:pPr>
                      <a:r>
                        <a:rPr lang="en-US" sz="1200" b="0" i="0" kern="1200" dirty="0">
                          <a:solidFill>
                            <a:schemeClr val="dk1"/>
                          </a:solidFill>
                          <a:effectLst/>
                          <a:latin typeface="+mn-lt"/>
                          <a:ea typeface="+mn-ea"/>
                          <a:cs typeface="+mn-cs"/>
                        </a:rPr>
                        <a:t>Schedule payment process requests to run on a regular basis.</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159100"/>
                  </a:ext>
                </a:extLst>
              </a:tr>
              <a:tr h="3119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Manage Payment Validations</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b="0" i="0" kern="1200" dirty="0">
                          <a:solidFill>
                            <a:schemeClr val="dk1"/>
                          </a:solidFill>
                          <a:effectLst/>
                          <a:latin typeface="+mn-lt"/>
                          <a:ea typeface="+mn-ea"/>
                          <a:cs typeface="+mn-cs"/>
                        </a:rPr>
                        <a:t>Payment validations are rules that ensure disbursements are correct before they are printed or transmitted to your bank or financial institution. </a:t>
                      </a:r>
                      <a:endParaRPr lang="en-US" sz="1200" b="0" i="0" kern="1200">
                        <a:solidFill>
                          <a:schemeClr val="dk1"/>
                        </a:solidFill>
                        <a:effectLst/>
                        <a:latin typeface="+mn-lt"/>
                        <a:ea typeface="+mn-ea"/>
                        <a:cs typeface="+mn-cs"/>
                      </a:endParaRPr>
                    </a:p>
                    <a:p>
                      <a:pPr marL="285750" indent="-285750">
                        <a:buFont typeface="Arial" panose="020B0604020202020204" pitchFamily="34" charset="0"/>
                        <a:buChar char="•"/>
                      </a:pPr>
                      <a:r>
                        <a:rPr lang="en-US" sz="1200" b="0" i="0" kern="1200" dirty="0">
                          <a:solidFill>
                            <a:schemeClr val="dk1"/>
                          </a:solidFill>
                          <a:effectLst/>
                          <a:latin typeface="+mn-lt"/>
                          <a:ea typeface="+mn-ea"/>
                          <a:cs typeface="+mn-cs"/>
                        </a:rPr>
                        <a:t>Payment validations help find problems early in the payment process and decrease costs by preventing invalid data from reaching your bank.</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64224"/>
                  </a:ext>
                </a:extLst>
              </a:tr>
              <a:tr h="311903">
                <a:tc>
                  <a:txBody>
                    <a:bodyPr/>
                    <a:lstStyle/>
                    <a:p>
                      <a:pPr algn="ctr">
                        <a:lnSpc>
                          <a:spcPct val="106000"/>
                        </a:lnSpc>
                      </a:pPr>
                      <a:r>
                        <a:rPr lang="en-US" sz="1200" b="1" dirty="0"/>
                        <a:t>Manage Payment Approvals</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mn-lt"/>
                          <a:ea typeface="+mn-ea"/>
                          <a:cs typeface="+mn-cs"/>
                        </a:rPr>
                        <a:t>Payment approval process allows business to control payments by prioritizing invoices with available fu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mn-lt"/>
                          <a:ea typeface="+mn-ea"/>
                          <a:cs typeface="+mn-cs"/>
                        </a:rPr>
                        <a:t>On enabling payment approvals, payment process stops and lets approvers to review the payments, remove payment is required from payment process request and approve it.</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9775329"/>
                  </a:ext>
                </a:extLst>
              </a:tr>
              <a:tr h="311903">
                <a:tc>
                  <a:txBody>
                    <a:bodyPr/>
                    <a:lstStyle/>
                    <a:p>
                      <a:pPr algn="ctr">
                        <a:lnSpc>
                          <a:spcPct val="106000"/>
                        </a:lnSpc>
                      </a:pPr>
                      <a:r>
                        <a:rPr lang="en-US" sz="1200" b="1" dirty="0"/>
                        <a:t>Manage Positive Pay</a:t>
                      </a: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mn-lt"/>
                          <a:ea typeface="+mn-ea"/>
                          <a:cs typeface="+mn-cs"/>
                        </a:rPr>
                        <a:t>Positive Pay is a predefined report sent by business to financial institutions with Payee name, currency, amount,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mn-lt"/>
                          <a:ea typeface="+mn-ea"/>
                          <a:cs typeface="+mn-cs"/>
                        </a:rPr>
                        <a:t>Positive Pay report prevents the payment of fraudulent checks, since unauthorized payments aren't listed on the Positive Pay report.</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6849688"/>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Send Remittance Advices</a:t>
                      </a:r>
                    </a:p>
                  </a:txBody>
                  <a:tcPr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450"/>
                        </a:spcBef>
                        <a:spcAft>
                          <a:spcPts val="0"/>
                        </a:spcAft>
                        <a:buClrTx/>
                        <a:buSzPct val="100000"/>
                        <a:buFont typeface="Arial" panose="020B0604020202020204" pitchFamily="34" charset="0"/>
                        <a:buChar char="•"/>
                        <a:tabLst/>
                        <a:defRPr/>
                      </a:pPr>
                      <a:r>
                        <a:rPr lang="en-US" sz="1200" dirty="0">
                          <a:latin typeface="+mn-lt"/>
                        </a:rPr>
                        <a:t>Remittance Advice report is a predefined disbursement report sent to suppliers on completion of payments.</a:t>
                      </a:r>
                    </a:p>
                  </a:txBody>
                  <a:tcPr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1854433"/>
                  </a:ext>
                </a:extLst>
              </a:tr>
            </a:tbl>
          </a:graphicData>
        </a:graphic>
      </p:graphicFrame>
    </p:spTree>
    <p:extLst>
      <p:ext uri="{BB962C8B-B14F-4D97-AF65-F5344CB8AC3E}">
        <p14:creationId xmlns:p14="http://schemas.microsoft.com/office/powerpoint/2010/main" val="37791772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F69CDB-BAC7-4D30-A0B5-0A81FA194628}"/>
              </a:ext>
            </a:extLst>
          </p:cNvPr>
          <p:cNvSpPr>
            <a:spLocks noGrp="1"/>
          </p:cNvSpPr>
          <p:nvPr>
            <p:ph type="title"/>
          </p:nvPr>
        </p:nvSpPr>
        <p:spPr>
          <a:xfrm>
            <a:off x="501650" y="449704"/>
            <a:ext cx="11188700" cy="334099"/>
          </a:xfrm>
        </p:spPr>
        <p:txBody>
          <a:bodyPr vert="horz" lIns="0" tIns="0" rIns="0" bIns="0" rtlCol="0" anchor="t" anchorCtr="0">
            <a:noAutofit/>
          </a:bodyPr>
          <a:lstStyle/>
          <a:p>
            <a:r>
              <a:rPr lang="en-US" sz="3000" b="1">
                <a:cs typeface="Calibri Light"/>
              </a:rPr>
              <a:t>Payable Payment Process</a:t>
            </a:r>
          </a:p>
        </p:txBody>
      </p:sp>
      <p:sp>
        <p:nvSpPr>
          <p:cNvPr id="5" name="Text Placeholder 12">
            <a:extLst>
              <a:ext uri="{FF2B5EF4-FFF2-40B4-BE49-F238E27FC236}">
                <a16:creationId xmlns:a16="http://schemas.microsoft.com/office/drawing/2014/main" id="{47C6644F-EC13-42DD-AEE3-51928206F087}"/>
              </a:ext>
            </a:extLst>
          </p:cNvPr>
          <p:cNvSpPr txBox="1">
            <a:spLocks/>
          </p:cNvSpPr>
          <p:nvPr/>
        </p:nvSpPr>
        <p:spPr>
          <a:xfrm>
            <a:off x="558009" y="927010"/>
            <a:ext cx="11188700" cy="757255"/>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cs typeface="Calibri Light"/>
              </a:rPr>
              <a:t>System Demonstration – Create Payment by running payment process request – Selection criterion</a:t>
            </a:r>
            <a:endParaRPr lang="en-US"/>
          </a:p>
        </p:txBody>
      </p:sp>
      <p:pic>
        <p:nvPicPr>
          <p:cNvPr id="18" name="Picture 4">
            <a:extLst>
              <a:ext uri="{FF2B5EF4-FFF2-40B4-BE49-F238E27FC236}">
                <a16:creationId xmlns:a16="http://schemas.microsoft.com/office/drawing/2014/main" id="{810703C9-96E4-49B0-BEFB-9ECCE01186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9963" y="8550169"/>
            <a:ext cx="26670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49F335B4-B39D-45D7-8DE7-93E4AB01FBA8}"/>
              </a:ext>
            </a:extLst>
          </p:cNvPr>
          <p:cNvPicPr>
            <a:picLocks noChangeAspect="1"/>
          </p:cNvPicPr>
          <p:nvPr/>
        </p:nvPicPr>
        <p:blipFill>
          <a:blip r:embed="rId3"/>
          <a:stretch>
            <a:fillRect/>
          </a:stretch>
        </p:blipFill>
        <p:spPr>
          <a:xfrm>
            <a:off x="558009" y="1551398"/>
            <a:ext cx="11132341" cy="4777901"/>
          </a:xfrm>
          <a:prstGeom prst="rect">
            <a:avLst/>
          </a:prstGeom>
        </p:spPr>
      </p:pic>
    </p:spTree>
    <p:extLst>
      <p:ext uri="{BB962C8B-B14F-4D97-AF65-F5344CB8AC3E}">
        <p14:creationId xmlns:p14="http://schemas.microsoft.com/office/powerpoint/2010/main" val="18345664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F69CDB-BAC7-4D30-A0B5-0A81FA194628}"/>
              </a:ext>
            </a:extLst>
          </p:cNvPr>
          <p:cNvSpPr>
            <a:spLocks noGrp="1"/>
          </p:cNvSpPr>
          <p:nvPr>
            <p:ph type="title"/>
          </p:nvPr>
        </p:nvSpPr>
        <p:spPr>
          <a:xfrm>
            <a:off x="501650" y="449704"/>
            <a:ext cx="11188700" cy="334099"/>
          </a:xfrm>
        </p:spPr>
        <p:txBody>
          <a:bodyPr vert="horz" lIns="0" tIns="0" rIns="0" bIns="0" rtlCol="0" anchor="t" anchorCtr="0">
            <a:noAutofit/>
          </a:bodyPr>
          <a:lstStyle/>
          <a:p>
            <a:r>
              <a:rPr lang="en-US" sz="3000" b="1">
                <a:cs typeface="Calibri Light"/>
              </a:rPr>
              <a:t>Payable Payment Process</a:t>
            </a:r>
          </a:p>
        </p:txBody>
      </p:sp>
      <p:sp>
        <p:nvSpPr>
          <p:cNvPr id="5" name="Text Placeholder 12">
            <a:extLst>
              <a:ext uri="{FF2B5EF4-FFF2-40B4-BE49-F238E27FC236}">
                <a16:creationId xmlns:a16="http://schemas.microsoft.com/office/drawing/2014/main" id="{47C6644F-EC13-42DD-AEE3-51928206F087}"/>
              </a:ext>
            </a:extLst>
          </p:cNvPr>
          <p:cNvSpPr txBox="1">
            <a:spLocks/>
          </p:cNvSpPr>
          <p:nvPr/>
        </p:nvSpPr>
        <p:spPr>
          <a:xfrm>
            <a:off x="558009" y="92701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ystem Demonstration – Create Payment by running payment process request – Payment and processing option</a:t>
            </a:r>
          </a:p>
        </p:txBody>
      </p:sp>
      <p:pic>
        <p:nvPicPr>
          <p:cNvPr id="18" name="Picture 4">
            <a:extLst>
              <a:ext uri="{FF2B5EF4-FFF2-40B4-BE49-F238E27FC236}">
                <a16:creationId xmlns:a16="http://schemas.microsoft.com/office/drawing/2014/main" id="{810703C9-96E4-49B0-BEFB-9ECCE01186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9963" y="8550169"/>
            <a:ext cx="26670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7135A189-87C6-4229-A981-3EB4C374D06E}"/>
              </a:ext>
            </a:extLst>
          </p:cNvPr>
          <p:cNvPicPr>
            <a:picLocks noChangeAspect="1"/>
          </p:cNvPicPr>
          <p:nvPr/>
        </p:nvPicPr>
        <p:blipFill>
          <a:blip r:embed="rId3"/>
          <a:stretch>
            <a:fillRect/>
          </a:stretch>
        </p:blipFill>
        <p:spPr>
          <a:xfrm>
            <a:off x="558009" y="1551397"/>
            <a:ext cx="10949048" cy="4856899"/>
          </a:xfrm>
          <a:prstGeom prst="rect">
            <a:avLst/>
          </a:prstGeom>
        </p:spPr>
      </p:pic>
    </p:spTree>
    <p:extLst>
      <p:ext uri="{BB962C8B-B14F-4D97-AF65-F5344CB8AC3E}">
        <p14:creationId xmlns:p14="http://schemas.microsoft.com/office/powerpoint/2010/main" val="12104277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035FD7D-0195-C4B9-80DA-4E4ACE1A50FF}"/>
              </a:ext>
            </a:extLst>
          </p:cNvPr>
          <p:cNvSpPr>
            <a:spLocks noGrp="1"/>
          </p:cNvSpPr>
          <p:nvPr>
            <p:ph type="body" idx="1"/>
          </p:nvPr>
        </p:nvSpPr>
        <p:spPr/>
        <p:txBody>
          <a:bodyPr vert="horz" lIns="0" tIns="0" rIns="0" bIns="0" rtlCol="0" anchor="t">
            <a:noAutofit/>
          </a:bodyPr>
          <a:lstStyle/>
          <a:p>
            <a:endParaRPr lang="en-US" b="1" dirty="0">
              <a:ea typeface="Calibri"/>
              <a:cs typeface="Calibri"/>
            </a:endParaRPr>
          </a:p>
        </p:txBody>
      </p:sp>
      <p:sp>
        <p:nvSpPr>
          <p:cNvPr id="6" name="Title 5">
            <a:extLst>
              <a:ext uri="{FF2B5EF4-FFF2-40B4-BE49-F238E27FC236}">
                <a16:creationId xmlns:a16="http://schemas.microsoft.com/office/drawing/2014/main" id="{0CE6C197-89B3-933A-CAF7-C63EC5AD4EC1}"/>
              </a:ext>
            </a:extLst>
          </p:cNvPr>
          <p:cNvSpPr>
            <a:spLocks noGrp="1"/>
          </p:cNvSpPr>
          <p:nvPr>
            <p:ph type="title"/>
          </p:nvPr>
        </p:nvSpPr>
        <p:spPr/>
        <p:txBody>
          <a:bodyPr/>
          <a:lstStyle/>
          <a:p>
            <a:r>
              <a:rPr lang="en-US"/>
              <a:t>Introduction</a:t>
            </a:r>
          </a:p>
        </p:txBody>
      </p:sp>
    </p:spTree>
    <p:extLst>
      <p:ext uri="{BB962C8B-B14F-4D97-AF65-F5344CB8AC3E}">
        <p14:creationId xmlns:p14="http://schemas.microsoft.com/office/powerpoint/2010/main" val="40293596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F69CDB-BAC7-4D30-A0B5-0A81FA194628}"/>
              </a:ext>
            </a:extLst>
          </p:cNvPr>
          <p:cNvSpPr>
            <a:spLocks noGrp="1"/>
          </p:cNvSpPr>
          <p:nvPr>
            <p:ph type="title"/>
          </p:nvPr>
        </p:nvSpPr>
        <p:spPr>
          <a:xfrm>
            <a:off x="501650" y="449704"/>
            <a:ext cx="11188700" cy="334099"/>
          </a:xfrm>
        </p:spPr>
        <p:txBody>
          <a:bodyPr vert="horz" lIns="0" tIns="0" rIns="0" bIns="0" rtlCol="0" anchor="t" anchorCtr="0">
            <a:noAutofit/>
          </a:bodyPr>
          <a:lstStyle/>
          <a:p>
            <a:r>
              <a:rPr lang="en-US" sz="3000" b="1">
                <a:cs typeface="Calibri Light"/>
              </a:rPr>
              <a:t>Payable Payment Process</a:t>
            </a:r>
          </a:p>
        </p:txBody>
      </p:sp>
      <p:sp>
        <p:nvSpPr>
          <p:cNvPr id="5" name="Text Placeholder 12">
            <a:extLst>
              <a:ext uri="{FF2B5EF4-FFF2-40B4-BE49-F238E27FC236}">
                <a16:creationId xmlns:a16="http://schemas.microsoft.com/office/drawing/2014/main" id="{47C6644F-EC13-42DD-AEE3-51928206F087}"/>
              </a:ext>
            </a:extLst>
          </p:cNvPr>
          <p:cNvSpPr txBox="1">
            <a:spLocks/>
          </p:cNvSpPr>
          <p:nvPr/>
        </p:nvSpPr>
        <p:spPr>
          <a:xfrm>
            <a:off x="558009" y="92701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ystem Demonstration – Create Manual Payment </a:t>
            </a:r>
          </a:p>
        </p:txBody>
      </p:sp>
      <p:pic>
        <p:nvPicPr>
          <p:cNvPr id="6" name="Picture 5">
            <a:extLst>
              <a:ext uri="{FF2B5EF4-FFF2-40B4-BE49-F238E27FC236}">
                <a16:creationId xmlns:a16="http://schemas.microsoft.com/office/drawing/2014/main" id="{33C279C5-21E9-4CDA-BD46-C6578BB52BB2}"/>
              </a:ext>
            </a:extLst>
          </p:cNvPr>
          <p:cNvPicPr>
            <a:picLocks noChangeAspect="1"/>
          </p:cNvPicPr>
          <p:nvPr/>
        </p:nvPicPr>
        <p:blipFill>
          <a:blip r:embed="rId2"/>
          <a:stretch>
            <a:fillRect/>
          </a:stretch>
        </p:blipFill>
        <p:spPr>
          <a:xfrm>
            <a:off x="558009" y="1522392"/>
            <a:ext cx="11132341" cy="4587954"/>
          </a:xfrm>
          <a:prstGeom prst="rect">
            <a:avLst/>
          </a:prstGeom>
        </p:spPr>
      </p:pic>
    </p:spTree>
    <p:extLst>
      <p:ext uri="{BB962C8B-B14F-4D97-AF65-F5344CB8AC3E}">
        <p14:creationId xmlns:p14="http://schemas.microsoft.com/office/powerpoint/2010/main" val="33926525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F69CDB-BAC7-4D30-A0B5-0A81FA194628}"/>
              </a:ext>
            </a:extLst>
          </p:cNvPr>
          <p:cNvSpPr>
            <a:spLocks noGrp="1"/>
          </p:cNvSpPr>
          <p:nvPr>
            <p:ph type="title"/>
          </p:nvPr>
        </p:nvSpPr>
        <p:spPr>
          <a:xfrm>
            <a:off x="501650" y="449704"/>
            <a:ext cx="11188700" cy="334099"/>
          </a:xfrm>
        </p:spPr>
        <p:txBody>
          <a:bodyPr vert="horz" lIns="0" tIns="0" rIns="0" bIns="0" rtlCol="0" anchor="t" anchorCtr="0">
            <a:noAutofit/>
          </a:bodyPr>
          <a:lstStyle/>
          <a:p>
            <a:r>
              <a:rPr lang="en-US" sz="3000" b="1">
                <a:cs typeface="Calibri Light"/>
              </a:rPr>
              <a:t>Payable Payment Process</a:t>
            </a:r>
          </a:p>
        </p:txBody>
      </p:sp>
      <p:sp>
        <p:nvSpPr>
          <p:cNvPr id="5" name="Text Placeholder 12">
            <a:extLst>
              <a:ext uri="{FF2B5EF4-FFF2-40B4-BE49-F238E27FC236}">
                <a16:creationId xmlns:a16="http://schemas.microsoft.com/office/drawing/2014/main" id="{47C6644F-EC13-42DD-AEE3-51928206F087}"/>
              </a:ext>
            </a:extLst>
          </p:cNvPr>
          <p:cNvSpPr txBox="1">
            <a:spLocks/>
          </p:cNvSpPr>
          <p:nvPr/>
        </p:nvSpPr>
        <p:spPr>
          <a:xfrm>
            <a:off x="558009" y="92701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ystem Demonstration – Create Quick Payment </a:t>
            </a:r>
          </a:p>
        </p:txBody>
      </p:sp>
      <p:pic>
        <p:nvPicPr>
          <p:cNvPr id="3" name="Picture 2">
            <a:extLst>
              <a:ext uri="{FF2B5EF4-FFF2-40B4-BE49-F238E27FC236}">
                <a16:creationId xmlns:a16="http://schemas.microsoft.com/office/drawing/2014/main" id="{A08EB8AB-BF6C-4183-BEE7-8E61000AC947}"/>
              </a:ext>
            </a:extLst>
          </p:cNvPr>
          <p:cNvPicPr>
            <a:picLocks noChangeAspect="1"/>
          </p:cNvPicPr>
          <p:nvPr/>
        </p:nvPicPr>
        <p:blipFill>
          <a:blip r:embed="rId2"/>
          <a:stretch>
            <a:fillRect/>
          </a:stretch>
        </p:blipFill>
        <p:spPr>
          <a:xfrm>
            <a:off x="708775" y="1467973"/>
            <a:ext cx="10925216" cy="4579599"/>
          </a:xfrm>
          <a:prstGeom prst="rect">
            <a:avLst/>
          </a:prstGeom>
        </p:spPr>
      </p:pic>
    </p:spTree>
    <p:extLst>
      <p:ext uri="{BB962C8B-B14F-4D97-AF65-F5344CB8AC3E}">
        <p14:creationId xmlns:p14="http://schemas.microsoft.com/office/powerpoint/2010/main" val="5948898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4">
            <a:extLst>
              <a:ext uri="{FF2B5EF4-FFF2-40B4-BE49-F238E27FC236}">
                <a16:creationId xmlns:a16="http://schemas.microsoft.com/office/drawing/2014/main" id="{60644CDB-03DB-4EC6-984E-5552302007FA}"/>
              </a:ext>
            </a:extLst>
          </p:cNvPr>
          <p:cNvSpPr txBox="1">
            <a:spLocks/>
          </p:cNvSpPr>
          <p:nvPr/>
        </p:nvSpPr>
        <p:spPr>
          <a:xfrm>
            <a:off x="501650" y="317500"/>
            <a:ext cx="11188700" cy="334099"/>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3000" b="1"/>
              <a:t>Section Objective</a:t>
            </a:r>
          </a:p>
        </p:txBody>
      </p:sp>
      <p:graphicFrame>
        <p:nvGraphicFramePr>
          <p:cNvPr id="5" name="Content Placeholder 6">
            <a:extLst>
              <a:ext uri="{FF2B5EF4-FFF2-40B4-BE49-F238E27FC236}">
                <a16:creationId xmlns:a16="http://schemas.microsoft.com/office/drawing/2014/main" id="{82549B7C-F0FA-419F-A057-F2CE77019DB6}"/>
              </a:ext>
            </a:extLst>
          </p:cNvPr>
          <p:cNvGraphicFramePr>
            <a:graphicFrameLocks/>
          </p:cNvGraphicFramePr>
          <p:nvPr>
            <p:extLst>
              <p:ext uri="{D42A27DB-BD31-4B8C-83A1-F6EECF244321}">
                <p14:modId xmlns:p14="http://schemas.microsoft.com/office/powerpoint/2010/main" val="850310112"/>
              </p:ext>
            </p:extLst>
          </p:nvPr>
        </p:nvGraphicFramePr>
        <p:xfrm>
          <a:off x="796263" y="1309655"/>
          <a:ext cx="10533763" cy="3603818"/>
        </p:xfrm>
        <a:graphic>
          <a:graphicData uri="http://schemas.openxmlformats.org/drawingml/2006/table">
            <a:tbl>
              <a:tblPr firstRow="1" bandRow="1">
                <a:tableStyleId>{5C22544A-7EE6-4342-B048-85BDC9FD1C3A}</a:tableStyleId>
              </a:tblPr>
              <a:tblGrid>
                <a:gridCol w="2872844">
                  <a:extLst>
                    <a:ext uri="{9D8B030D-6E8A-4147-A177-3AD203B41FA5}">
                      <a16:colId xmlns:a16="http://schemas.microsoft.com/office/drawing/2014/main" val="20001"/>
                    </a:ext>
                  </a:extLst>
                </a:gridCol>
                <a:gridCol w="7660919">
                  <a:extLst>
                    <a:ext uri="{9D8B030D-6E8A-4147-A177-3AD203B41FA5}">
                      <a16:colId xmlns:a16="http://schemas.microsoft.com/office/drawing/2014/main" val="20002"/>
                    </a:ext>
                  </a:extLst>
                </a:gridCol>
              </a:tblGrid>
              <a:tr h="491269">
                <a:tc gridSpan="2">
                  <a:txBody>
                    <a:bodyPr/>
                    <a:lstStyle/>
                    <a:p>
                      <a:pPr marL="0" marR="0" lvl="0" indent="0" algn="ctr" rtl="0" eaLnBrk="0" fontAlgn="base" latinLnBrk="0" hangingPunct="0">
                        <a:lnSpc>
                          <a:spcPct val="100000"/>
                        </a:lnSpc>
                        <a:spcBef>
                          <a:spcPts val="400"/>
                        </a:spcBef>
                        <a:spcAft>
                          <a:spcPct val="0"/>
                        </a:spcAft>
                        <a:buClrTx/>
                        <a:buSzPct val="100000"/>
                        <a:buFont typeface="Arial" panose="020B0604020202020204" pitchFamily="34" charset="0"/>
                        <a:buNone/>
                      </a:pPr>
                      <a:r>
                        <a:rPr lang="en-US" sz="1800" b="1" i="0" u="none" strike="noStrike" cap="none" normalizeH="0" baseline="0">
                          <a:ln>
                            <a:noFill/>
                          </a:ln>
                          <a:solidFill>
                            <a:schemeClr val="tx1"/>
                          </a:solidFill>
                          <a:effectLst/>
                          <a:latin typeface="+mn-lt"/>
                        </a:rPr>
                        <a:t>Procure To Pay</a:t>
                      </a: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defTabSz="684213">
                        <a:tabLst/>
                      </a:pPr>
                      <a:endParaRPr kumimoji="0" lang="en-US" sz="1400" b="1" i="0" u="none" strike="noStrike" cap="none" normalizeH="0" baseline="0">
                        <a:ln>
                          <a:noFill/>
                        </a:ln>
                        <a:solidFill>
                          <a:schemeClr val="tx1"/>
                        </a:solidFill>
                        <a:effectLst/>
                        <a:latin typeface="+mn-lt"/>
                      </a:endParaRPr>
                    </a:p>
                  </a:txBody>
                  <a:tcPr marL="45720" marR="45720" anchor="ctr" horzOverflow="overflow">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1269">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kern="1200" cap="none">
                          <a:solidFill>
                            <a:schemeClr val="tx1"/>
                          </a:solidFill>
                          <a:effectLst/>
                          <a:latin typeface="+mn-lt"/>
                          <a:ea typeface="+mn-ea"/>
                          <a:cs typeface="Arial"/>
                        </a:rPr>
                        <a:t>Duration</a:t>
                      </a:r>
                      <a:endParaRPr lang="en-US" sz="1400" b="1" i="0" u="none" strike="noStrike" kern="1200" cap="none">
                        <a:solidFill>
                          <a:schemeClr val="tx1"/>
                        </a:solidFill>
                        <a:effectLst/>
                        <a:latin typeface="+mn-lt"/>
                        <a:ea typeface="+mn-ea"/>
                        <a:cs typeface="Arial"/>
                        <a:sym typeface="Arial"/>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ctr" latinLnBrk="0" hangingPunct="1">
                        <a:lnSpc>
                          <a:spcPct val="100000"/>
                        </a:lnSpc>
                        <a:spcBef>
                          <a:spcPts val="0"/>
                        </a:spcBef>
                        <a:spcAft>
                          <a:spcPts val="0"/>
                        </a:spcAft>
                        <a:buClrTx/>
                        <a:buSzTx/>
                        <a:buNone/>
                      </a:pPr>
                      <a:r>
                        <a:rPr lang="en-US" sz="1400" b="0" i="0" u="none" strike="noStrike" kern="1200" cap="none" normalizeH="0" baseline="0">
                          <a:ln>
                            <a:noFill/>
                          </a:ln>
                          <a:solidFill>
                            <a:schemeClr val="tx1"/>
                          </a:solidFill>
                          <a:effectLst/>
                          <a:latin typeface="+mn-lt"/>
                          <a:ea typeface="+mn-ea"/>
                          <a:cs typeface="Lucida Sans" panose="020B0602040502020204" pitchFamily="34" charset="0"/>
                        </a:rPr>
                        <a:t>1 hour</a:t>
                      </a:r>
                      <a:endParaRPr kumimoji="0" lang="en-US" sz="1400" b="0" i="0" u="none" strike="noStrike" kern="1200" cap="none" normalizeH="0" baseline="0">
                        <a:ln>
                          <a:noFill/>
                        </a:ln>
                        <a:solidFill>
                          <a:schemeClr val="tx1"/>
                        </a:solidFill>
                        <a:effectLst/>
                        <a:latin typeface="+mn-lt"/>
                        <a:ea typeface="+mn-ea"/>
                        <a:cs typeface="Lucida Sans" panose="020B0602040502020204" pitchFamily="34" charset="0"/>
                        <a:sym typeface="Arial"/>
                      </a:endParaRPr>
                    </a:p>
                  </a:txBody>
                  <a:tcPr marL="45720" marR="45720" anchor="ctr" horzOverflow="overflow">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1269">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kern="1200" cap="none">
                          <a:solidFill>
                            <a:schemeClr val="tx1"/>
                          </a:solidFill>
                          <a:effectLst/>
                          <a:latin typeface="+mn-lt"/>
                          <a:ea typeface="+mn-ea"/>
                          <a:cs typeface="Arial"/>
                        </a:rPr>
                        <a:t>Objective</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0"/>
                        </a:spcAft>
                        <a:buNone/>
                      </a:pPr>
                      <a:r>
                        <a:rPr lang="en-US" sz="1400" b="0" i="0" u="none" strike="noStrike" kern="1200" cap="none" normalizeH="0" baseline="0" noProof="0">
                          <a:ln>
                            <a:noFill/>
                          </a:ln>
                          <a:effectLst/>
                        </a:rPr>
                        <a:t>Provide an overview of functionalities, leading practice recommendations, and considerations related to Payable - Payment.  Gather inputs to finalize solution, integration and conversion scope for the implementation of related capabilities  </a:t>
                      </a:r>
                      <a:endParaRPr kumimoji="0" lang="en-US">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7806057"/>
                  </a:ext>
                </a:extLst>
              </a:tr>
              <a:tr h="491269">
                <a:tc>
                  <a:txBody>
                    <a:bodyPr/>
                    <a:lstStyle/>
                    <a:p>
                      <a:pPr marL="0" marR="0" lvl="0" indent="0" algn="ctr" rtl="0" eaLnBrk="1" fontAlgn="t" latinLnBrk="0" hangingPunct="1">
                        <a:lnSpc>
                          <a:spcPct val="100000"/>
                        </a:lnSpc>
                        <a:spcBef>
                          <a:spcPts val="0"/>
                        </a:spcBef>
                        <a:spcAft>
                          <a:spcPts val="0"/>
                        </a:spcAft>
                        <a:buClrTx/>
                        <a:buSzTx/>
                        <a:buFont typeface="Arial" panose="020B0604020202020204" pitchFamily="34" charset="0"/>
                        <a:buNone/>
                      </a:pPr>
                      <a:r>
                        <a:rPr lang="en-US" sz="1400" b="1" i="0" u="none" strike="noStrike" kern="1200" cap="none">
                          <a:solidFill>
                            <a:schemeClr val="tx1"/>
                          </a:solidFill>
                          <a:effectLst/>
                          <a:latin typeface="+mn-lt"/>
                          <a:ea typeface="+mn-ea"/>
                          <a:cs typeface="Arial"/>
                        </a:rPr>
                        <a:t>Key Activities</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rtl="0" eaLnBrk="1" fontAlgn="ctr" latinLnBrk="0" hangingPunct="1">
                        <a:buClr>
                          <a:srgbClr val="000000"/>
                        </a:buClr>
                        <a:buSzTx/>
                        <a:buFont typeface="Arial,Sans-Serif" panose="020B0604020202020204" pitchFamily="34" charset="0"/>
                        <a:buChar char="•"/>
                      </a:pPr>
                      <a:r>
                        <a:rPr lang="en-US" sz="1400" b="0" i="0" u="none" strike="noStrike" kern="1200" cap="none" normalizeH="0" baseline="0" noProof="0">
                          <a:ln>
                            <a:noFill/>
                          </a:ln>
                          <a:effectLst/>
                        </a:rPr>
                        <a:t>Process Overview  </a:t>
                      </a:r>
                      <a:endParaRPr lang="en-US"/>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Capability deep-dive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Discuss confirmation questions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Review key capabilities and leading practices </a:t>
                      </a:r>
                    </a:p>
                    <a:p>
                      <a:pPr marL="742950" lvl="1" indent="-28575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Discuss data elements and key design decisions </a:t>
                      </a:r>
                      <a:endParaRPr lang="en-US"/>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8146689"/>
                  </a:ext>
                </a:extLst>
              </a:tr>
              <a:tr h="491269">
                <a:tc>
                  <a:txBody>
                    <a:bodyPr/>
                    <a:lstStyle/>
                    <a:p>
                      <a:pPr marL="0" marR="0" lvl="0" indent="0" algn="ctr" rtl="0" eaLnBrk="1" fontAlgn="t" latinLnBrk="0" hangingPunct="1">
                        <a:lnSpc>
                          <a:spcPct val="100000"/>
                        </a:lnSpc>
                        <a:spcBef>
                          <a:spcPts val="0"/>
                        </a:spcBef>
                        <a:spcAft>
                          <a:spcPts val="0"/>
                        </a:spcAft>
                        <a:buClrTx/>
                        <a:buSzTx/>
                        <a:buFont typeface="Arial" panose="020B0604020202020204" pitchFamily="34" charset="0"/>
                        <a:buNone/>
                      </a:pPr>
                      <a:r>
                        <a:rPr lang="en-US" sz="1400" b="1" i="0" u="none" strike="noStrike" kern="1200" cap="none">
                          <a:solidFill>
                            <a:schemeClr val="tx1"/>
                          </a:solidFill>
                          <a:effectLst/>
                          <a:latin typeface="+mn-lt"/>
                          <a:ea typeface="+mn-ea"/>
                          <a:cs typeface="Arial"/>
                        </a:rPr>
                        <a:t>What this is not</a:t>
                      </a:r>
                      <a:endParaRPr lang="en-US" sz="1400" b="1" i="0" u="none" strike="noStrike" kern="1200" cap="none">
                        <a:solidFill>
                          <a:schemeClr val="tx1"/>
                        </a:solidFill>
                        <a:effectLst/>
                        <a:latin typeface="+mn-lt"/>
                        <a:ea typeface="+mn-ea"/>
                        <a:cs typeface="Arial"/>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rtl="0" eaLnBrk="1" fontAlgn="ctr" latinLnBrk="0" hangingPunct="1">
                        <a:buClr>
                          <a:srgbClr val="000000"/>
                        </a:buClr>
                        <a:buSzTx/>
                        <a:buFont typeface="Arial,Sans-Serif" panose="020B0604020202020204" pitchFamily="34" charset="0"/>
                        <a:buChar char="•"/>
                      </a:pPr>
                      <a:r>
                        <a:rPr lang="en-US" sz="1400" b="0" i="0" u="none" strike="noStrike" kern="1200" cap="none" normalizeH="0" baseline="0" noProof="0">
                          <a:ln>
                            <a:noFill/>
                          </a:ln>
                          <a:effectLst/>
                        </a:rPr>
                        <a:t>Design future state processes, finalize design decisions  </a:t>
                      </a:r>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Gather Requirements </a:t>
                      </a:r>
                    </a:p>
                    <a:p>
                      <a:pPr marL="342900" lvl="0" indent="-342900">
                        <a:spcBef>
                          <a:spcPts val="0"/>
                        </a:spcBef>
                        <a:spcAft>
                          <a:spcPts val="0"/>
                        </a:spcAft>
                        <a:buClr>
                          <a:srgbClr val="000000"/>
                        </a:buClr>
                        <a:buSzTx/>
                        <a:buFont typeface="Arial,Sans-Serif" panose="020B0604020202020204" pitchFamily="34" charset="0"/>
                        <a:buChar char="•"/>
                      </a:pPr>
                      <a:r>
                        <a:rPr lang="en-US" sz="1400" b="0" i="0" u="none" strike="noStrike" kern="1200" cap="none" normalizeH="0" baseline="0" noProof="0">
                          <a:ln>
                            <a:noFill/>
                          </a:ln>
                          <a:effectLst/>
                        </a:rPr>
                        <a:t>Perform Fit-Gap analysis and solutions for business requirements </a:t>
                      </a:r>
                      <a:endParaRPr kumimoji="0" lang="en-US">
                        <a:sym typeface="Arial"/>
                      </a:endParaRPr>
                    </a:p>
                  </a:txBody>
                  <a:tcPr marL="45720" marR="4572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119055"/>
                  </a:ext>
                </a:extLst>
              </a:tr>
            </a:tbl>
          </a:graphicData>
        </a:graphic>
      </p:graphicFrame>
    </p:spTree>
    <p:extLst>
      <p:ext uri="{BB962C8B-B14F-4D97-AF65-F5344CB8AC3E}">
        <p14:creationId xmlns:p14="http://schemas.microsoft.com/office/powerpoint/2010/main" val="28419681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83949" y="184536"/>
            <a:ext cx="11188700" cy="334099"/>
          </a:xfrm>
        </p:spPr>
        <p:txBody>
          <a:bodyPr/>
          <a:lstStyle/>
          <a:p>
            <a:r>
              <a:rPr lang="en-US" sz="3000" b="1">
                <a:cs typeface="Calibri Light"/>
              </a:rPr>
              <a:t>Payable</a:t>
            </a:r>
            <a:r>
              <a:rPr lang="en-US" sz="3000" b="1" noProof="0">
                <a:cs typeface="Calibri Light"/>
              </a:rPr>
              <a:t> : </a:t>
            </a:r>
            <a:r>
              <a:rPr lang="en-US" sz="3000" b="1">
                <a:cs typeface="Calibri Light"/>
              </a:rPr>
              <a:t>Procure to Pay</a:t>
            </a:r>
            <a:endParaRPr lang="en-US" sz="3000" b="1" noProof="0">
              <a:cs typeface="Calibri Light"/>
            </a:endParaRPr>
          </a:p>
        </p:txBody>
      </p:sp>
      <p:sp>
        <p:nvSpPr>
          <p:cNvPr id="61" name="AutoShape 34">
            <a:extLst>
              <a:ext uri="{FF2B5EF4-FFF2-40B4-BE49-F238E27FC236}">
                <a16:creationId xmlns:a16="http://schemas.microsoft.com/office/drawing/2014/main" id="{4CC86636-2776-44EA-B247-3A37F16FDCFC}"/>
              </a:ext>
            </a:extLst>
          </p:cNvPr>
          <p:cNvSpPr>
            <a:spLocks noChangeArrowheads="1"/>
          </p:cNvSpPr>
          <p:nvPr/>
        </p:nvSpPr>
        <p:spPr bwMode="auto">
          <a:xfrm>
            <a:off x="650066" y="1097744"/>
            <a:ext cx="10891867" cy="173543"/>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Reporting</a:t>
            </a:r>
          </a:p>
        </p:txBody>
      </p:sp>
      <p:sp>
        <p:nvSpPr>
          <p:cNvPr id="62" name="AutoShape 34">
            <a:extLst>
              <a:ext uri="{FF2B5EF4-FFF2-40B4-BE49-F238E27FC236}">
                <a16:creationId xmlns:a16="http://schemas.microsoft.com/office/drawing/2014/main" id="{F2591052-B76F-450B-AB4E-DAA2FB8D7F7A}"/>
              </a:ext>
            </a:extLst>
          </p:cNvPr>
          <p:cNvSpPr>
            <a:spLocks noChangeArrowheads="1"/>
          </p:cNvSpPr>
          <p:nvPr/>
        </p:nvSpPr>
        <p:spPr bwMode="auto">
          <a:xfrm>
            <a:off x="650066" y="1333334"/>
            <a:ext cx="10891867" cy="178678"/>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Security and Controls (S&amp;C)</a:t>
            </a:r>
          </a:p>
        </p:txBody>
      </p:sp>
      <p:sp>
        <p:nvSpPr>
          <p:cNvPr id="63" name="AutoShape 34">
            <a:extLst>
              <a:ext uri="{FF2B5EF4-FFF2-40B4-BE49-F238E27FC236}">
                <a16:creationId xmlns:a16="http://schemas.microsoft.com/office/drawing/2014/main" id="{96D446B5-8C1B-4DE5-8CE8-E57414C208B2}"/>
              </a:ext>
            </a:extLst>
          </p:cNvPr>
          <p:cNvSpPr>
            <a:spLocks noChangeArrowheads="1"/>
          </p:cNvSpPr>
          <p:nvPr/>
        </p:nvSpPr>
        <p:spPr bwMode="auto">
          <a:xfrm>
            <a:off x="653561" y="1589515"/>
            <a:ext cx="10888372" cy="197290"/>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ea typeface="ＭＳ Ｐゴシック" charset="-128"/>
                <a:cs typeface="Arial" charset="0"/>
              </a:rPr>
              <a:t>Organizational Change Management (OCM)</a:t>
            </a:r>
          </a:p>
        </p:txBody>
      </p:sp>
      <p:sp>
        <p:nvSpPr>
          <p:cNvPr id="64" name="AutoShape 34">
            <a:extLst>
              <a:ext uri="{FF2B5EF4-FFF2-40B4-BE49-F238E27FC236}">
                <a16:creationId xmlns:a16="http://schemas.microsoft.com/office/drawing/2014/main" id="{D798E2D5-0ED3-4904-8CF4-94F1EA679F17}"/>
              </a:ext>
            </a:extLst>
          </p:cNvPr>
          <p:cNvSpPr>
            <a:spLocks noChangeArrowheads="1"/>
          </p:cNvSpPr>
          <p:nvPr/>
        </p:nvSpPr>
        <p:spPr bwMode="auto">
          <a:xfrm>
            <a:off x="659344" y="1854814"/>
            <a:ext cx="3846691" cy="137290"/>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Procure to Pay (PTP)</a:t>
            </a:r>
          </a:p>
        </p:txBody>
      </p:sp>
      <p:sp>
        <p:nvSpPr>
          <p:cNvPr id="65" name="Rectangle 64">
            <a:extLst>
              <a:ext uri="{FF2B5EF4-FFF2-40B4-BE49-F238E27FC236}">
                <a16:creationId xmlns:a16="http://schemas.microsoft.com/office/drawing/2014/main" id="{C64BC97E-C098-4F94-AD94-E6435283BC5A}"/>
              </a:ext>
            </a:extLst>
          </p:cNvPr>
          <p:cNvSpPr/>
          <p:nvPr/>
        </p:nvSpPr>
        <p:spPr>
          <a:xfrm>
            <a:off x="1382162" y="2579730"/>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Contracts</a:t>
            </a:r>
          </a:p>
        </p:txBody>
      </p:sp>
      <p:sp>
        <p:nvSpPr>
          <p:cNvPr id="72" name="Rectangle 71">
            <a:extLst>
              <a:ext uri="{FF2B5EF4-FFF2-40B4-BE49-F238E27FC236}">
                <a16:creationId xmlns:a16="http://schemas.microsoft.com/office/drawing/2014/main" id="{423C18C3-A805-410A-9C30-72A124E1AB0B}"/>
              </a:ext>
            </a:extLst>
          </p:cNvPr>
          <p:cNvSpPr/>
          <p:nvPr/>
        </p:nvSpPr>
        <p:spPr>
          <a:xfrm>
            <a:off x="2665730" y="2091811"/>
            <a:ext cx="1097280" cy="389885"/>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Payables</a:t>
            </a:r>
          </a:p>
        </p:txBody>
      </p:sp>
      <p:sp>
        <p:nvSpPr>
          <p:cNvPr id="73" name="Rectangle 72">
            <a:extLst>
              <a:ext uri="{FF2B5EF4-FFF2-40B4-BE49-F238E27FC236}">
                <a16:creationId xmlns:a16="http://schemas.microsoft.com/office/drawing/2014/main" id="{B385339B-14A8-4218-8F02-02B852954334}"/>
              </a:ext>
            </a:extLst>
          </p:cNvPr>
          <p:cNvSpPr/>
          <p:nvPr/>
        </p:nvSpPr>
        <p:spPr>
          <a:xfrm>
            <a:off x="1371145" y="2090101"/>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Procurement</a:t>
            </a:r>
          </a:p>
        </p:txBody>
      </p:sp>
      <p:sp>
        <p:nvSpPr>
          <p:cNvPr id="74" name="Rectangle 73">
            <a:extLst>
              <a:ext uri="{FF2B5EF4-FFF2-40B4-BE49-F238E27FC236}">
                <a16:creationId xmlns:a16="http://schemas.microsoft.com/office/drawing/2014/main" id="{07B39B37-BBD6-471A-B913-7674D7021C19}"/>
              </a:ext>
            </a:extLst>
          </p:cNvPr>
          <p:cNvSpPr/>
          <p:nvPr/>
        </p:nvSpPr>
        <p:spPr>
          <a:xfrm>
            <a:off x="1372673" y="5493532"/>
            <a:ext cx="1097280" cy="367325"/>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Short Term Maintenance</a:t>
            </a:r>
          </a:p>
        </p:txBody>
      </p:sp>
      <p:sp>
        <p:nvSpPr>
          <p:cNvPr id="76" name="Rectangle 75">
            <a:extLst>
              <a:ext uri="{FF2B5EF4-FFF2-40B4-BE49-F238E27FC236}">
                <a16:creationId xmlns:a16="http://schemas.microsoft.com/office/drawing/2014/main" id="{FC9CB06F-7DD1-4C0A-A107-E359AC12010C}"/>
              </a:ext>
            </a:extLst>
          </p:cNvPr>
          <p:cNvSpPr/>
          <p:nvPr/>
        </p:nvSpPr>
        <p:spPr>
          <a:xfrm>
            <a:off x="2668023" y="2579319"/>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Vendor setup</a:t>
            </a:r>
          </a:p>
        </p:txBody>
      </p:sp>
      <p:sp>
        <p:nvSpPr>
          <p:cNvPr id="79" name="AutoShape 34">
            <a:extLst>
              <a:ext uri="{FF2B5EF4-FFF2-40B4-BE49-F238E27FC236}">
                <a16:creationId xmlns:a16="http://schemas.microsoft.com/office/drawing/2014/main" id="{4632E038-4E25-471D-93ED-217C9623974A}"/>
              </a:ext>
            </a:extLst>
          </p:cNvPr>
          <p:cNvSpPr>
            <a:spLocks noChangeArrowheads="1"/>
          </p:cNvSpPr>
          <p:nvPr/>
        </p:nvSpPr>
        <p:spPr bwMode="auto">
          <a:xfrm>
            <a:off x="4595344" y="1848910"/>
            <a:ext cx="2763923" cy="137017"/>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Acquire to Retire (ATR)</a:t>
            </a:r>
          </a:p>
        </p:txBody>
      </p:sp>
      <p:sp>
        <p:nvSpPr>
          <p:cNvPr id="89" name="Left Brace 88">
            <a:extLst>
              <a:ext uri="{FF2B5EF4-FFF2-40B4-BE49-F238E27FC236}">
                <a16:creationId xmlns:a16="http://schemas.microsoft.com/office/drawing/2014/main" id="{DDA18F29-FE01-4B2F-824C-32CDEAC9C8C2}"/>
              </a:ext>
            </a:extLst>
          </p:cNvPr>
          <p:cNvSpPr/>
          <p:nvPr/>
        </p:nvSpPr>
        <p:spPr>
          <a:xfrm>
            <a:off x="447620" y="958746"/>
            <a:ext cx="122415" cy="1099727"/>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0" name="TextBox 89">
            <a:extLst>
              <a:ext uri="{FF2B5EF4-FFF2-40B4-BE49-F238E27FC236}">
                <a16:creationId xmlns:a16="http://schemas.microsoft.com/office/drawing/2014/main" id="{C06BD9D4-5C2B-4B92-8607-9C8B503ABB95}"/>
              </a:ext>
            </a:extLst>
          </p:cNvPr>
          <p:cNvSpPr txBox="1"/>
          <p:nvPr/>
        </p:nvSpPr>
        <p:spPr>
          <a:xfrm rot="16200000">
            <a:off x="137643" y="1383861"/>
            <a:ext cx="442750" cy="200055"/>
          </a:xfrm>
          <a:prstGeom prst="rect">
            <a:avLst/>
          </a:prstGeom>
          <a:noFill/>
        </p:spPr>
        <p:txBody>
          <a:bodyPr wrap="none" rtlCol="0">
            <a:spAutoFit/>
          </a:bodyPr>
          <a:lstStyle/>
          <a:p>
            <a:r>
              <a:rPr lang="en-US" sz="700" b="1"/>
              <a:t>Level 1</a:t>
            </a:r>
          </a:p>
        </p:txBody>
      </p:sp>
      <p:sp>
        <p:nvSpPr>
          <p:cNvPr id="91" name="Left Brace 90">
            <a:extLst>
              <a:ext uri="{FF2B5EF4-FFF2-40B4-BE49-F238E27FC236}">
                <a16:creationId xmlns:a16="http://schemas.microsoft.com/office/drawing/2014/main" id="{DA55EB31-45F6-43BD-8EFB-DD6E2229515B}"/>
              </a:ext>
            </a:extLst>
          </p:cNvPr>
          <p:cNvSpPr/>
          <p:nvPr/>
        </p:nvSpPr>
        <p:spPr>
          <a:xfrm>
            <a:off x="447620" y="2091212"/>
            <a:ext cx="122415" cy="389885"/>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2" name="TextBox 91">
            <a:extLst>
              <a:ext uri="{FF2B5EF4-FFF2-40B4-BE49-F238E27FC236}">
                <a16:creationId xmlns:a16="http://schemas.microsoft.com/office/drawing/2014/main" id="{B9796718-3A8F-46DF-8670-8C3CA3E4EE1F}"/>
              </a:ext>
            </a:extLst>
          </p:cNvPr>
          <p:cNvSpPr txBox="1"/>
          <p:nvPr/>
        </p:nvSpPr>
        <p:spPr>
          <a:xfrm rot="16200000">
            <a:off x="170764" y="2200854"/>
            <a:ext cx="442750" cy="200055"/>
          </a:xfrm>
          <a:prstGeom prst="rect">
            <a:avLst/>
          </a:prstGeom>
          <a:noFill/>
        </p:spPr>
        <p:txBody>
          <a:bodyPr wrap="none" rtlCol="0">
            <a:spAutoFit/>
          </a:bodyPr>
          <a:lstStyle/>
          <a:p>
            <a:r>
              <a:rPr lang="en-US" sz="700" b="1"/>
              <a:t>Level 2</a:t>
            </a:r>
          </a:p>
        </p:txBody>
      </p:sp>
      <p:sp>
        <p:nvSpPr>
          <p:cNvPr id="93" name="Left Brace 92">
            <a:extLst>
              <a:ext uri="{FF2B5EF4-FFF2-40B4-BE49-F238E27FC236}">
                <a16:creationId xmlns:a16="http://schemas.microsoft.com/office/drawing/2014/main" id="{C58A299F-827D-422C-B913-85A5F880D4AC}"/>
              </a:ext>
            </a:extLst>
          </p:cNvPr>
          <p:cNvSpPr/>
          <p:nvPr/>
        </p:nvSpPr>
        <p:spPr>
          <a:xfrm>
            <a:off x="447620" y="2533134"/>
            <a:ext cx="122415" cy="3401101"/>
          </a:xfrm>
          <a:prstGeom prst="leftBrace">
            <a:avLst/>
          </a:prstGeom>
          <a:noFill/>
          <a:ln w="9525">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94" name="TextBox 93">
            <a:extLst>
              <a:ext uri="{FF2B5EF4-FFF2-40B4-BE49-F238E27FC236}">
                <a16:creationId xmlns:a16="http://schemas.microsoft.com/office/drawing/2014/main" id="{FB1B8502-2A8C-4CEF-A9CE-C55D3E69E0EA}"/>
              </a:ext>
            </a:extLst>
          </p:cNvPr>
          <p:cNvSpPr txBox="1"/>
          <p:nvPr/>
        </p:nvSpPr>
        <p:spPr>
          <a:xfrm rot="16200000">
            <a:off x="120338" y="4140242"/>
            <a:ext cx="495649" cy="200055"/>
          </a:xfrm>
          <a:prstGeom prst="rect">
            <a:avLst/>
          </a:prstGeom>
          <a:noFill/>
        </p:spPr>
        <p:txBody>
          <a:bodyPr wrap="square" rtlCol="0">
            <a:spAutoFit/>
          </a:bodyPr>
          <a:lstStyle/>
          <a:p>
            <a:r>
              <a:rPr lang="en-US" sz="700" b="1"/>
              <a:t>Level 3</a:t>
            </a:r>
          </a:p>
        </p:txBody>
      </p:sp>
      <p:sp>
        <p:nvSpPr>
          <p:cNvPr id="95" name="AutoShape 34">
            <a:extLst>
              <a:ext uri="{FF2B5EF4-FFF2-40B4-BE49-F238E27FC236}">
                <a16:creationId xmlns:a16="http://schemas.microsoft.com/office/drawing/2014/main" id="{C6C9CEC5-7A9A-443F-A7B0-1A9D477B0897}"/>
              </a:ext>
            </a:extLst>
          </p:cNvPr>
          <p:cNvSpPr>
            <a:spLocks noChangeArrowheads="1"/>
          </p:cNvSpPr>
          <p:nvPr/>
        </p:nvSpPr>
        <p:spPr bwMode="auto">
          <a:xfrm>
            <a:off x="7444321" y="1848910"/>
            <a:ext cx="4028162" cy="157662"/>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ea typeface="ＭＳ Ｐゴシック" charset="-128"/>
                <a:cs typeface="Arial" charset="0"/>
              </a:rPr>
              <a:t>Record to Report (RTR)</a:t>
            </a:r>
          </a:p>
        </p:txBody>
      </p:sp>
      <p:grpSp>
        <p:nvGrpSpPr>
          <p:cNvPr id="8" name="Group 7">
            <a:extLst>
              <a:ext uri="{FF2B5EF4-FFF2-40B4-BE49-F238E27FC236}">
                <a16:creationId xmlns:a16="http://schemas.microsoft.com/office/drawing/2014/main" id="{FAC2FB55-713A-840C-9B15-87810A32109E}"/>
              </a:ext>
            </a:extLst>
          </p:cNvPr>
          <p:cNvGrpSpPr/>
          <p:nvPr/>
        </p:nvGrpSpPr>
        <p:grpSpPr>
          <a:xfrm>
            <a:off x="7738405" y="2090101"/>
            <a:ext cx="3549110" cy="4574953"/>
            <a:chOff x="7859746" y="2096999"/>
            <a:chExt cx="3549110" cy="4574953"/>
          </a:xfrm>
        </p:grpSpPr>
        <p:sp>
          <p:nvSpPr>
            <p:cNvPr id="96" name="Rectangle 95">
              <a:extLst>
                <a:ext uri="{FF2B5EF4-FFF2-40B4-BE49-F238E27FC236}">
                  <a16:creationId xmlns:a16="http://schemas.microsoft.com/office/drawing/2014/main" id="{7962F39E-F289-4C59-83ED-0C0077A41D06}"/>
                </a:ext>
              </a:extLst>
            </p:cNvPr>
            <p:cNvSpPr/>
            <p:nvPr/>
          </p:nvSpPr>
          <p:spPr>
            <a:xfrm>
              <a:off x="7859746" y="2096999"/>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Accounting and Control Data</a:t>
              </a:r>
            </a:p>
          </p:txBody>
        </p:sp>
        <p:sp>
          <p:nvSpPr>
            <p:cNvPr id="97" name="Rectangle 96">
              <a:extLst>
                <a:ext uri="{FF2B5EF4-FFF2-40B4-BE49-F238E27FC236}">
                  <a16:creationId xmlns:a16="http://schemas.microsoft.com/office/drawing/2014/main" id="{F99EE10F-E96B-4148-9886-443F35D13FDE}"/>
                </a:ext>
              </a:extLst>
            </p:cNvPr>
            <p:cNvSpPr/>
            <p:nvPr/>
          </p:nvSpPr>
          <p:spPr>
            <a:xfrm>
              <a:off x="9076731" y="2096999"/>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Cash Management</a:t>
              </a:r>
            </a:p>
          </p:txBody>
        </p:sp>
        <p:sp>
          <p:nvSpPr>
            <p:cNvPr id="98" name="Rectangle 97">
              <a:extLst>
                <a:ext uri="{FF2B5EF4-FFF2-40B4-BE49-F238E27FC236}">
                  <a16:creationId xmlns:a16="http://schemas.microsoft.com/office/drawing/2014/main" id="{55E6FF2C-3B82-4389-9F00-B5AFA25B822F}"/>
                </a:ext>
              </a:extLst>
            </p:cNvPr>
            <p:cNvSpPr/>
            <p:nvPr/>
          </p:nvSpPr>
          <p:spPr>
            <a:xfrm>
              <a:off x="9076731" y="2590575"/>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Bank Statement Reconciliation</a:t>
              </a:r>
            </a:p>
          </p:txBody>
        </p:sp>
        <p:sp>
          <p:nvSpPr>
            <p:cNvPr id="99" name="Rectangle 98">
              <a:extLst>
                <a:ext uri="{FF2B5EF4-FFF2-40B4-BE49-F238E27FC236}">
                  <a16:creationId xmlns:a16="http://schemas.microsoft.com/office/drawing/2014/main" id="{8F2348D5-4AF5-4DD4-B7FA-03B6C2597A18}"/>
                </a:ext>
              </a:extLst>
            </p:cNvPr>
            <p:cNvSpPr/>
            <p:nvPr/>
          </p:nvSpPr>
          <p:spPr>
            <a:xfrm>
              <a:off x="10311576" y="2096999"/>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Intercompany</a:t>
              </a:r>
            </a:p>
          </p:txBody>
        </p:sp>
        <p:sp>
          <p:nvSpPr>
            <p:cNvPr id="100" name="Rectangle 99">
              <a:extLst>
                <a:ext uri="{FF2B5EF4-FFF2-40B4-BE49-F238E27FC236}">
                  <a16:creationId xmlns:a16="http://schemas.microsoft.com/office/drawing/2014/main" id="{5D5E1140-C87C-46CD-A26E-2F5C8920F54C}"/>
                </a:ext>
              </a:extLst>
            </p:cNvPr>
            <p:cNvSpPr/>
            <p:nvPr/>
          </p:nvSpPr>
          <p:spPr>
            <a:xfrm>
              <a:off x="10311576" y="2607668"/>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Generate Financial IC Transactions</a:t>
              </a:r>
            </a:p>
          </p:txBody>
        </p:sp>
        <p:sp>
          <p:nvSpPr>
            <p:cNvPr id="101" name="Rectangle 100">
              <a:extLst>
                <a:ext uri="{FF2B5EF4-FFF2-40B4-BE49-F238E27FC236}">
                  <a16:creationId xmlns:a16="http://schemas.microsoft.com/office/drawing/2014/main" id="{B4334D25-F58F-4BCA-A72A-1CD0D787B4B7}"/>
                </a:ext>
              </a:extLst>
            </p:cNvPr>
            <p:cNvSpPr/>
            <p:nvPr/>
          </p:nvSpPr>
          <p:spPr>
            <a:xfrm>
              <a:off x="10311576" y="303183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Reconcile IC Accounts</a:t>
              </a:r>
            </a:p>
          </p:txBody>
        </p:sp>
        <p:sp>
          <p:nvSpPr>
            <p:cNvPr id="120" name="Rectangle 119">
              <a:extLst>
                <a:ext uri="{FF2B5EF4-FFF2-40B4-BE49-F238E27FC236}">
                  <a16:creationId xmlns:a16="http://schemas.microsoft.com/office/drawing/2014/main" id="{96FE4C88-68CE-4472-B5E0-3932CFE78E2F}"/>
                </a:ext>
              </a:extLst>
            </p:cNvPr>
            <p:cNvSpPr/>
            <p:nvPr/>
          </p:nvSpPr>
          <p:spPr>
            <a:xfrm>
              <a:off x="7859746" y="2586004"/>
              <a:ext cx="1097280" cy="346525"/>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ain Enterprise Structure</a:t>
              </a:r>
            </a:p>
          </p:txBody>
        </p:sp>
        <p:sp>
          <p:nvSpPr>
            <p:cNvPr id="121" name="Rectangle 120">
              <a:extLst>
                <a:ext uri="{FF2B5EF4-FFF2-40B4-BE49-F238E27FC236}">
                  <a16:creationId xmlns:a16="http://schemas.microsoft.com/office/drawing/2014/main" id="{C4A24B5A-DFDD-4B6A-B6BA-C7B4DB38A890}"/>
                </a:ext>
              </a:extLst>
            </p:cNvPr>
            <p:cNvSpPr/>
            <p:nvPr/>
          </p:nvSpPr>
          <p:spPr>
            <a:xfrm>
              <a:off x="7859746" y="3351982"/>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ain Currency &amp; Rates</a:t>
              </a:r>
            </a:p>
          </p:txBody>
        </p:sp>
        <p:sp>
          <p:nvSpPr>
            <p:cNvPr id="122" name="Rectangle 121">
              <a:extLst>
                <a:ext uri="{FF2B5EF4-FFF2-40B4-BE49-F238E27FC236}">
                  <a16:creationId xmlns:a16="http://schemas.microsoft.com/office/drawing/2014/main" id="{00AFADEE-4940-42C2-A475-37DC9426EABA}"/>
                </a:ext>
              </a:extLst>
            </p:cNvPr>
            <p:cNvSpPr/>
            <p:nvPr/>
          </p:nvSpPr>
          <p:spPr>
            <a:xfrm>
              <a:off x="7859746" y="4115554"/>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Manual Journal Entries</a:t>
              </a:r>
            </a:p>
          </p:txBody>
        </p:sp>
        <p:sp>
          <p:nvSpPr>
            <p:cNvPr id="123" name="Rectangle 122">
              <a:extLst>
                <a:ext uri="{FF2B5EF4-FFF2-40B4-BE49-F238E27FC236}">
                  <a16:creationId xmlns:a16="http://schemas.microsoft.com/office/drawing/2014/main" id="{E2E7CC8A-5A6C-4EF1-BBFB-6EC5273D3D15}"/>
                </a:ext>
              </a:extLst>
            </p:cNvPr>
            <p:cNvSpPr/>
            <p:nvPr/>
          </p:nvSpPr>
          <p:spPr>
            <a:xfrm>
              <a:off x="7859746" y="3727715"/>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Interfaced Journal Entries</a:t>
              </a:r>
            </a:p>
          </p:txBody>
        </p:sp>
        <p:sp>
          <p:nvSpPr>
            <p:cNvPr id="124" name="Rectangle 123">
              <a:extLst>
                <a:ext uri="{FF2B5EF4-FFF2-40B4-BE49-F238E27FC236}">
                  <a16:creationId xmlns:a16="http://schemas.microsoft.com/office/drawing/2014/main" id="{5EB4766C-9BBF-4CA7-9958-56A6424A74F0}"/>
                </a:ext>
              </a:extLst>
            </p:cNvPr>
            <p:cNvSpPr/>
            <p:nvPr/>
          </p:nvSpPr>
          <p:spPr>
            <a:xfrm>
              <a:off x="7859746" y="4488569"/>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Approve and Post JEs</a:t>
              </a:r>
            </a:p>
          </p:txBody>
        </p:sp>
        <p:sp>
          <p:nvSpPr>
            <p:cNvPr id="125" name="Rectangle 124">
              <a:extLst>
                <a:ext uri="{FF2B5EF4-FFF2-40B4-BE49-F238E27FC236}">
                  <a16:creationId xmlns:a16="http://schemas.microsoft.com/office/drawing/2014/main" id="{22D9ACFD-3A8F-40F5-8F5A-E696F52FD198}"/>
                </a:ext>
              </a:extLst>
            </p:cNvPr>
            <p:cNvSpPr/>
            <p:nvPr/>
          </p:nvSpPr>
          <p:spPr>
            <a:xfrm>
              <a:off x="7859746" y="4864625"/>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Reversing JEs</a:t>
              </a:r>
            </a:p>
          </p:txBody>
        </p:sp>
        <p:sp>
          <p:nvSpPr>
            <p:cNvPr id="126" name="Rectangle 125">
              <a:extLst>
                <a:ext uri="{FF2B5EF4-FFF2-40B4-BE49-F238E27FC236}">
                  <a16:creationId xmlns:a16="http://schemas.microsoft.com/office/drawing/2014/main" id="{C2D8E783-E201-4D0A-9026-B89B453AED27}"/>
                </a:ext>
              </a:extLst>
            </p:cNvPr>
            <p:cNvSpPr/>
            <p:nvPr/>
          </p:nvSpPr>
          <p:spPr>
            <a:xfrm>
              <a:off x="7859746" y="560566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erform Allocations</a:t>
              </a:r>
            </a:p>
          </p:txBody>
        </p:sp>
        <p:sp>
          <p:nvSpPr>
            <p:cNvPr id="127" name="Rectangle 126">
              <a:extLst>
                <a:ext uri="{FF2B5EF4-FFF2-40B4-BE49-F238E27FC236}">
                  <a16:creationId xmlns:a16="http://schemas.microsoft.com/office/drawing/2014/main" id="{83174E4D-32A9-42C7-BD2E-03E8E193D51C}"/>
                </a:ext>
              </a:extLst>
            </p:cNvPr>
            <p:cNvSpPr/>
            <p:nvPr/>
          </p:nvSpPr>
          <p:spPr>
            <a:xfrm>
              <a:off x="7859746" y="5977510"/>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erform Closing </a:t>
              </a:r>
            </a:p>
            <a:p>
              <a:pPr algn="ctr"/>
              <a:r>
                <a:rPr lang="en-US" sz="750">
                  <a:solidFill>
                    <a:schemeClr val="tx1"/>
                  </a:solidFill>
                </a:rPr>
                <a:t>(Period End)</a:t>
              </a:r>
            </a:p>
          </p:txBody>
        </p:sp>
        <p:sp>
          <p:nvSpPr>
            <p:cNvPr id="128" name="Rectangle 127">
              <a:extLst>
                <a:ext uri="{FF2B5EF4-FFF2-40B4-BE49-F238E27FC236}">
                  <a16:creationId xmlns:a16="http://schemas.microsoft.com/office/drawing/2014/main" id="{5B0170CE-672F-4C1B-8DDA-9B3A1A617A09}"/>
                </a:ext>
              </a:extLst>
            </p:cNvPr>
            <p:cNvSpPr/>
            <p:nvPr/>
          </p:nvSpPr>
          <p:spPr>
            <a:xfrm>
              <a:off x="7859746" y="5240681"/>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Recurring JEs</a:t>
              </a:r>
            </a:p>
          </p:txBody>
        </p:sp>
        <p:sp>
          <p:nvSpPr>
            <p:cNvPr id="129" name="Rectangle 128">
              <a:extLst>
                <a:ext uri="{FF2B5EF4-FFF2-40B4-BE49-F238E27FC236}">
                  <a16:creationId xmlns:a16="http://schemas.microsoft.com/office/drawing/2014/main" id="{1614B940-AE6F-4591-B878-780176A2946E}"/>
                </a:ext>
              </a:extLst>
            </p:cNvPr>
            <p:cNvSpPr/>
            <p:nvPr/>
          </p:nvSpPr>
          <p:spPr>
            <a:xfrm>
              <a:off x="7875244" y="2991866"/>
              <a:ext cx="1063911" cy="299545"/>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ain Chart of Accounts</a:t>
              </a:r>
            </a:p>
          </p:txBody>
        </p:sp>
        <p:sp>
          <p:nvSpPr>
            <p:cNvPr id="130" name="Rectangle 129">
              <a:extLst>
                <a:ext uri="{FF2B5EF4-FFF2-40B4-BE49-F238E27FC236}">
                  <a16:creationId xmlns:a16="http://schemas.microsoft.com/office/drawing/2014/main" id="{A722DA6C-87A1-4E8C-8A61-972EB14C9932}"/>
                </a:ext>
              </a:extLst>
            </p:cNvPr>
            <p:cNvSpPr/>
            <p:nvPr/>
          </p:nvSpPr>
          <p:spPr>
            <a:xfrm>
              <a:off x="7859746" y="6349354"/>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Financial Reporting</a:t>
              </a:r>
            </a:p>
          </p:txBody>
        </p:sp>
      </p:grpSp>
      <p:sp>
        <p:nvSpPr>
          <p:cNvPr id="80" name="Rectangle 79">
            <a:extLst>
              <a:ext uri="{FF2B5EF4-FFF2-40B4-BE49-F238E27FC236}">
                <a16:creationId xmlns:a16="http://schemas.microsoft.com/office/drawing/2014/main" id="{C6C2F661-DCD9-4CCB-BA40-82A1A3164CA9}"/>
              </a:ext>
            </a:extLst>
          </p:cNvPr>
          <p:cNvSpPr/>
          <p:nvPr/>
        </p:nvSpPr>
        <p:spPr>
          <a:xfrm>
            <a:off x="5490704" y="2599980"/>
            <a:ext cx="1097280" cy="308621"/>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erform Asset Additions</a:t>
            </a:r>
          </a:p>
        </p:txBody>
      </p:sp>
      <p:sp>
        <p:nvSpPr>
          <p:cNvPr id="81" name="Rectangle 80">
            <a:extLst>
              <a:ext uri="{FF2B5EF4-FFF2-40B4-BE49-F238E27FC236}">
                <a16:creationId xmlns:a16="http://schemas.microsoft.com/office/drawing/2014/main" id="{317477F8-AD64-4461-A5B1-F12618B4D764}"/>
              </a:ext>
            </a:extLst>
          </p:cNvPr>
          <p:cNvSpPr/>
          <p:nvPr/>
        </p:nvSpPr>
        <p:spPr>
          <a:xfrm>
            <a:off x="5490704" y="3831598"/>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Retire Assets</a:t>
            </a:r>
          </a:p>
        </p:txBody>
      </p:sp>
      <p:sp>
        <p:nvSpPr>
          <p:cNvPr id="82" name="Rectangle 81">
            <a:extLst>
              <a:ext uri="{FF2B5EF4-FFF2-40B4-BE49-F238E27FC236}">
                <a16:creationId xmlns:a16="http://schemas.microsoft.com/office/drawing/2014/main" id="{F537F1F4-0B17-4B8A-88BF-68B7C9D492D4}"/>
              </a:ext>
            </a:extLst>
          </p:cNvPr>
          <p:cNvSpPr/>
          <p:nvPr/>
        </p:nvSpPr>
        <p:spPr>
          <a:xfrm>
            <a:off x="5490704" y="3416400"/>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Transfer Assets</a:t>
            </a:r>
          </a:p>
        </p:txBody>
      </p:sp>
      <p:sp>
        <p:nvSpPr>
          <p:cNvPr id="83" name="Rectangle 82">
            <a:extLst>
              <a:ext uri="{FF2B5EF4-FFF2-40B4-BE49-F238E27FC236}">
                <a16:creationId xmlns:a16="http://schemas.microsoft.com/office/drawing/2014/main" id="{745AC472-C241-49DB-9B99-ADD9827E4D63}"/>
              </a:ext>
            </a:extLst>
          </p:cNvPr>
          <p:cNvSpPr/>
          <p:nvPr/>
        </p:nvSpPr>
        <p:spPr>
          <a:xfrm>
            <a:off x="5490704" y="5077189"/>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Depreciation &amp; Assets Period End Close</a:t>
            </a:r>
          </a:p>
        </p:txBody>
      </p:sp>
      <p:sp>
        <p:nvSpPr>
          <p:cNvPr id="84" name="Rectangle 83">
            <a:extLst>
              <a:ext uri="{FF2B5EF4-FFF2-40B4-BE49-F238E27FC236}">
                <a16:creationId xmlns:a16="http://schemas.microsoft.com/office/drawing/2014/main" id="{CD53079D-6E35-497C-B4B9-28671B8C2727}"/>
              </a:ext>
            </a:extLst>
          </p:cNvPr>
          <p:cNvSpPr/>
          <p:nvPr/>
        </p:nvSpPr>
        <p:spPr>
          <a:xfrm>
            <a:off x="5490704" y="4661994"/>
            <a:ext cx="1086842"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intain Statutory and Tax Books</a:t>
            </a:r>
          </a:p>
        </p:txBody>
      </p:sp>
      <p:sp>
        <p:nvSpPr>
          <p:cNvPr id="85" name="Rectangle 84">
            <a:extLst>
              <a:ext uri="{FF2B5EF4-FFF2-40B4-BE49-F238E27FC236}">
                <a16:creationId xmlns:a16="http://schemas.microsoft.com/office/drawing/2014/main" id="{38F94EAF-C409-4CF1-B249-14323A9C919C}"/>
              </a:ext>
            </a:extLst>
          </p:cNvPr>
          <p:cNvSpPr/>
          <p:nvPr/>
        </p:nvSpPr>
        <p:spPr>
          <a:xfrm>
            <a:off x="5490704" y="3001202"/>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Adjust Assets</a:t>
            </a:r>
          </a:p>
        </p:txBody>
      </p:sp>
      <p:sp>
        <p:nvSpPr>
          <p:cNvPr id="86" name="Rectangle 85">
            <a:extLst>
              <a:ext uri="{FF2B5EF4-FFF2-40B4-BE49-F238E27FC236}">
                <a16:creationId xmlns:a16="http://schemas.microsoft.com/office/drawing/2014/main" id="{24324B2F-69F5-4183-9529-CC0626A9B386}"/>
              </a:ext>
            </a:extLst>
          </p:cNvPr>
          <p:cNvSpPr/>
          <p:nvPr/>
        </p:nvSpPr>
        <p:spPr>
          <a:xfrm>
            <a:off x="5490704" y="4246796"/>
            <a:ext cx="1097280" cy="32259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Reinstate Assets</a:t>
            </a:r>
          </a:p>
        </p:txBody>
      </p:sp>
      <p:sp>
        <p:nvSpPr>
          <p:cNvPr id="87" name="Rectangle 86">
            <a:extLst>
              <a:ext uri="{FF2B5EF4-FFF2-40B4-BE49-F238E27FC236}">
                <a16:creationId xmlns:a16="http://schemas.microsoft.com/office/drawing/2014/main" id="{E6308963-8A12-47E2-B99F-E22555A495EB}"/>
              </a:ext>
            </a:extLst>
          </p:cNvPr>
          <p:cNvSpPr/>
          <p:nvPr/>
        </p:nvSpPr>
        <p:spPr>
          <a:xfrm>
            <a:off x="5490704" y="2091212"/>
            <a:ext cx="1097280" cy="380400"/>
          </a:xfrm>
          <a:prstGeom prst="rect">
            <a:avLst/>
          </a:prstGeom>
          <a:solidFill>
            <a:schemeClr val="accent3"/>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rgbClr val="FFFFFF"/>
                </a:solidFill>
              </a:rPr>
              <a:t>Manage Fixed Assets</a:t>
            </a:r>
          </a:p>
        </p:txBody>
      </p:sp>
      <p:grpSp>
        <p:nvGrpSpPr>
          <p:cNvPr id="133" name="Group 132">
            <a:extLst>
              <a:ext uri="{FF2B5EF4-FFF2-40B4-BE49-F238E27FC236}">
                <a16:creationId xmlns:a16="http://schemas.microsoft.com/office/drawing/2014/main" id="{B0129A4E-EC4A-45E0-81F8-E269A3DE25F9}"/>
              </a:ext>
            </a:extLst>
          </p:cNvPr>
          <p:cNvGrpSpPr/>
          <p:nvPr/>
        </p:nvGrpSpPr>
        <p:grpSpPr>
          <a:xfrm>
            <a:off x="570035" y="6239431"/>
            <a:ext cx="6679064" cy="322598"/>
            <a:chOff x="727781" y="6402555"/>
            <a:chExt cx="5773265" cy="337208"/>
          </a:xfrm>
        </p:grpSpPr>
        <p:sp>
          <p:nvSpPr>
            <p:cNvPr id="135" name="Rectangle 134">
              <a:extLst>
                <a:ext uri="{FF2B5EF4-FFF2-40B4-BE49-F238E27FC236}">
                  <a16:creationId xmlns:a16="http://schemas.microsoft.com/office/drawing/2014/main" id="{DC0A0893-C164-4F70-AB3F-3DE650CD9706}"/>
                </a:ext>
              </a:extLst>
            </p:cNvPr>
            <p:cNvSpPr/>
            <p:nvPr/>
          </p:nvSpPr>
          <p:spPr>
            <a:xfrm>
              <a:off x="2447203" y="6402555"/>
              <a:ext cx="865448" cy="337208"/>
            </a:xfrm>
            <a:prstGeom prst="rect">
              <a:avLst/>
            </a:prstGeom>
            <a:solidFill>
              <a:schemeClr val="accent1">
                <a:lumMod val="60000"/>
                <a:lumOff val="4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L3 Processes- Other Tracks</a:t>
              </a:r>
              <a:endParaRPr lang="en-US" sz="800" b="1">
                <a:solidFill>
                  <a:schemeClr val="tx1"/>
                </a:solidFill>
              </a:endParaRPr>
            </a:p>
          </p:txBody>
        </p:sp>
        <p:sp>
          <p:nvSpPr>
            <p:cNvPr id="137" name="Rectangle 136">
              <a:extLst>
                <a:ext uri="{FF2B5EF4-FFF2-40B4-BE49-F238E27FC236}">
                  <a16:creationId xmlns:a16="http://schemas.microsoft.com/office/drawing/2014/main" id="{EE29C491-3537-4D11-B6DD-4F32A43C44FA}"/>
                </a:ext>
              </a:extLst>
            </p:cNvPr>
            <p:cNvSpPr/>
            <p:nvPr/>
          </p:nvSpPr>
          <p:spPr>
            <a:xfrm>
              <a:off x="727781" y="6475489"/>
              <a:ext cx="786969" cy="223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solidFill>
                  <a:latin typeface="Calibri"/>
                  <a:cs typeface="Calibri"/>
                </a:rPr>
                <a:t>Legend</a:t>
              </a:r>
              <a:r>
                <a:rPr lang="en-US" sz="1200">
                  <a:solidFill>
                    <a:schemeClr val="tx1"/>
                  </a:solidFill>
                  <a:latin typeface="Proxima Nova"/>
                </a:rPr>
                <a:t> :</a:t>
              </a:r>
            </a:p>
          </p:txBody>
        </p:sp>
        <p:sp>
          <p:nvSpPr>
            <p:cNvPr id="139" name="Rectangle 138">
              <a:extLst>
                <a:ext uri="{FF2B5EF4-FFF2-40B4-BE49-F238E27FC236}">
                  <a16:creationId xmlns:a16="http://schemas.microsoft.com/office/drawing/2014/main" id="{93FB344C-33CF-4A73-91B9-C1B79EF40FB2}"/>
                </a:ext>
              </a:extLst>
            </p:cNvPr>
            <p:cNvSpPr/>
            <p:nvPr/>
          </p:nvSpPr>
          <p:spPr>
            <a:xfrm>
              <a:off x="4435454" y="6483066"/>
              <a:ext cx="2065592" cy="221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200">
                <a:solidFill>
                  <a:schemeClr val="tx1"/>
                </a:solidFill>
                <a:latin typeface="Calibri"/>
                <a:cs typeface="Calibri"/>
              </a:endParaRPr>
            </a:p>
          </p:txBody>
        </p:sp>
      </p:grpSp>
      <p:grpSp>
        <p:nvGrpSpPr>
          <p:cNvPr id="5" name="Group 4">
            <a:extLst>
              <a:ext uri="{FF2B5EF4-FFF2-40B4-BE49-F238E27FC236}">
                <a16:creationId xmlns:a16="http://schemas.microsoft.com/office/drawing/2014/main" id="{1853977B-4763-038A-1D24-6153EDA84021}"/>
              </a:ext>
            </a:extLst>
          </p:cNvPr>
          <p:cNvGrpSpPr/>
          <p:nvPr/>
        </p:nvGrpSpPr>
        <p:grpSpPr>
          <a:xfrm>
            <a:off x="1370838" y="2995474"/>
            <a:ext cx="2393800" cy="2404313"/>
            <a:chOff x="800107" y="2995474"/>
            <a:chExt cx="2393800" cy="2404313"/>
          </a:xfrm>
        </p:grpSpPr>
        <p:sp>
          <p:nvSpPr>
            <p:cNvPr id="66" name="Rectangle 65">
              <a:extLst>
                <a:ext uri="{FF2B5EF4-FFF2-40B4-BE49-F238E27FC236}">
                  <a16:creationId xmlns:a16="http://schemas.microsoft.com/office/drawing/2014/main" id="{C2E4BF9D-A8B8-4967-8799-18594BE79FBA}"/>
                </a:ext>
              </a:extLst>
            </p:cNvPr>
            <p:cNvSpPr/>
            <p:nvPr/>
          </p:nvSpPr>
          <p:spPr>
            <a:xfrm>
              <a:off x="800107" y="3411817"/>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nage Purchase Orders</a:t>
              </a:r>
            </a:p>
          </p:txBody>
        </p:sp>
        <p:sp>
          <p:nvSpPr>
            <p:cNvPr id="67" name="Rectangle 66">
              <a:extLst>
                <a:ext uri="{FF2B5EF4-FFF2-40B4-BE49-F238E27FC236}">
                  <a16:creationId xmlns:a16="http://schemas.microsoft.com/office/drawing/2014/main" id="{841836C8-1669-4CC4-8FD3-EC29F38C279A}"/>
                </a:ext>
              </a:extLst>
            </p:cNvPr>
            <p:cNvSpPr/>
            <p:nvPr/>
          </p:nvSpPr>
          <p:spPr>
            <a:xfrm>
              <a:off x="800107" y="3828160"/>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Receipts</a:t>
              </a:r>
            </a:p>
          </p:txBody>
        </p:sp>
        <p:sp>
          <p:nvSpPr>
            <p:cNvPr id="68" name="Rectangle 67">
              <a:extLst>
                <a:ext uri="{FF2B5EF4-FFF2-40B4-BE49-F238E27FC236}">
                  <a16:creationId xmlns:a16="http://schemas.microsoft.com/office/drawing/2014/main" id="{5065CBE6-2D35-4A70-89CD-9A2CB90A2209}"/>
                </a:ext>
              </a:extLst>
            </p:cNvPr>
            <p:cNvSpPr/>
            <p:nvPr/>
          </p:nvSpPr>
          <p:spPr>
            <a:xfrm>
              <a:off x="800107" y="5077189"/>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Maintenance Repair Operations (MRO)</a:t>
              </a:r>
            </a:p>
          </p:txBody>
        </p:sp>
        <p:sp>
          <p:nvSpPr>
            <p:cNvPr id="69" name="Rectangle 68">
              <a:extLst>
                <a:ext uri="{FF2B5EF4-FFF2-40B4-BE49-F238E27FC236}">
                  <a16:creationId xmlns:a16="http://schemas.microsoft.com/office/drawing/2014/main" id="{1BCF29CE-F026-41FF-93DD-C6E3BF888DA9}"/>
                </a:ext>
              </a:extLst>
            </p:cNvPr>
            <p:cNvSpPr/>
            <p:nvPr/>
          </p:nvSpPr>
          <p:spPr>
            <a:xfrm>
              <a:off x="800107" y="4660846"/>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Sourcing</a:t>
              </a:r>
            </a:p>
          </p:txBody>
        </p:sp>
        <p:sp>
          <p:nvSpPr>
            <p:cNvPr id="70" name="Rectangle 69">
              <a:extLst>
                <a:ext uri="{FF2B5EF4-FFF2-40B4-BE49-F238E27FC236}">
                  <a16:creationId xmlns:a16="http://schemas.microsoft.com/office/drawing/2014/main" id="{8FA53EC3-2EA5-4934-B759-9DA917830187}"/>
                </a:ext>
              </a:extLst>
            </p:cNvPr>
            <p:cNvSpPr/>
            <p:nvPr/>
          </p:nvSpPr>
          <p:spPr>
            <a:xfrm>
              <a:off x="800107" y="2995474"/>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Create Requisitions</a:t>
              </a:r>
            </a:p>
          </p:txBody>
        </p:sp>
        <p:sp>
          <p:nvSpPr>
            <p:cNvPr id="71" name="Rectangle 70">
              <a:extLst>
                <a:ext uri="{FF2B5EF4-FFF2-40B4-BE49-F238E27FC236}">
                  <a16:creationId xmlns:a16="http://schemas.microsoft.com/office/drawing/2014/main" id="{F0A0748F-291D-4E3C-93D1-6A2DA5F40196}"/>
                </a:ext>
              </a:extLst>
            </p:cNvPr>
            <p:cNvSpPr/>
            <p:nvPr/>
          </p:nvSpPr>
          <p:spPr>
            <a:xfrm>
              <a:off x="800107" y="4244503"/>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Vendor Onboarding</a:t>
              </a:r>
            </a:p>
          </p:txBody>
        </p:sp>
        <p:sp>
          <p:nvSpPr>
            <p:cNvPr id="75" name="Rectangle 74">
              <a:extLst>
                <a:ext uri="{FF2B5EF4-FFF2-40B4-BE49-F238E27FC236}">
                  <a16:creationId xmlns:a16="http://schemas.microsoft.com/office/drawing/2014/main" id="{E54E5A95-EFA4-4222-A4EA-F708AED89EDB}"/>
                </a:ext>
              </a:extLst>
            </p:cNvPr>
            <p:cNvSpPr/>
            <p:nvPr/>
          </p:nvSpPr>
          <p:spPr>
            <a:xfrm>
              <a:off x="2083675" y="3005403"/>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Process Invoices</a:t>
              </a:r>
            </a:p>
          </p:txBody>
        </p:sp>
        <p:sp>
          <p:nvSpPr>
            <p:cNvPr id="77" name="Rectangle 76">
              <a:extLst>
                <a:ext uri="{FF2B5EF4-FFF2-40B4-BE49-F238E27FC236}">
                  <a16:creationId xmlns:a16="http://schemas.microsoft.com/office/drawing/2014/main" id="{EE3B170C-9345-47EA-9DD7-E5D02C658DFF}"/>
                </a:ext>
              </a:extLst>
            </p:cNvPr>
            <p:cNvSpPr/>
            <p:nvPr/>
          </p:nvSpPr>
          <p:spPr>
            <a:xfrm>
              <a:off x="2083675" y="3430816"/>
              <a:ext cx="1097280"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rPr>
                <a:t>Employee Expense Reports</a:t>
              </a:r>
            </a:p>
          </p:txBody>
        </p:sp>
        <p:sp>
          <p:nvSpPr>
            <p:cNvPr id="78" name="Rectangle 77">
              <a:extLst>
                <a:ext uri="{FF2B5EF4-FFF2-40B4-BE49-F238E27FC236}">
                  <a16:creationId xmlns:a16="http://schemas.microsoft.com/office/drawing/2014/main" id="{6DC6F3F7-0E03-425D-ABDF-F5949C2C9C63}"/>
                </a:ext>
              </a:extLst>
            </p:cNvPr>
            <p:cNvSpPr/>
            <p:nvPr/>
          </p:nvSpPr>
          <p:spPr>
            <a:xfrm>
              <a:off x="2083675" y="3856229"/>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Manage Payments</a:t>
              </a:r>
            </a:p>
          </p:txBody>
        </p:sp>
        <p:sp>
          <p:nvSpPr>
            <p:cNvPr id="88" name="Rectangle 87">
              <a:extLst>
                <a:ext uri="{FF2B5EF4-FFF2-40B4-BE49-F238E27FC236}">
                  <a16:creationId xmlns:a16="http://schemas.microsoft.com/office/drawing/2014/main" id="{0A61E5DD-3FFB-4A15-B8A8-F44B212161DC}"/>
                </a:ext>
              </a:extLst>
            </p:cNvPr>
            <p:cNvSpPr/>
            <p:nvPr/>
          </p:nvSpPr>
          <p:spPr>
            <a:xfrm>
              <a:off x="2083675" y="4274816"/>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Period End Close</a:t>
              </a:r>
            </a:p>
          </p:txBody>
        </p:sp>
        <p:sp>
          <p:nvSpPr>
            <p:cNvPr id="102" name="Rectangle 101">
              <a:extLst>
                <a:ext uri="{FF2B5EF4-FFF2-40B4-BE49-F238E27FC236}">
                  <a16:creationId xmlns:a16="http://schemas.microsoft.com/office/drawing/2014/main" id="{26D4DB03-64F0-4C42-968D-0ACE61655A68}"/>
                </a:ext>
              </a:extLst>
            </p:cNvPr>
            <p:cNvSpPr/>
            <p:nvPr/>
          </p:nvSpPr>
          <p:spPr>
            <a:xfrm>
              <a:off x="2096627" y="4721533"/>
              <a:ext cx="1097280" cy="322598"/>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a:solidFill>
                    <a:schemeClr val="tx1"/>
                  </a:solidFill>
                </a:rPr>
                <a:t>Bank and Bank Branch Setup</a:t>
              </a:r>
            </a:p>
          </p:txBody>
        </p:sp>
      </p:grpSp>
      <p:sp>
        <p:nvSpPr>
          <p:cNvPr id="103" name="Text Placeholder 12">
            <a:extLst>
              <a:ext uri="{FF2B5EF4-FFF2-40B4-BE49-F238E27FC236}">
                <a16:creationId xmlns:a16="http://schemas.microsoft.com/office/drawing/2014/main" id="{AEF9B63C-D6BC-4287-990A-D5E8EC3438C2}"/>
              </a:ext>
            </a:extLst>
          </p:cNvPr>
          <p:cNvSpPr txBox="1">
            <a:spLocks/>
          </p:cNvSpPr>
          <p:nvPr/>
        </p:nvSpPr>
        <p:spPr>
          <a:xfrm>
            <a:off x="492167" y="62682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rack wise Process flows for Company X</a:t>
            </a:r>
          </a:p>
        </p:txBody>
      </p:sp>
      <p:sp>
        <p:nvSpPr>
          <p:cNvPr id="104" name="Rectangle 103">
            <a:extLst>
              <a:ext uri="{FF2B5EF4-FFF2-40B4-BE49-F238E27FC236}">
                <a16:creationId xmlns:a16="http://schemas.microsoft.com/office/drawing/2014/main" id="{9E28C2DB-2178-47A6-AD1B-32BECE64BA28}"/>
              </a:ext>
            </a:extLst>
          </p:cNvPr>
          <p:cNvSpPr/>
          <p:nvPr/>
        </p:nvSpPr>
        <p:spPr>
          <a:xfrm>
            <a:off x="3697892" y="6239431"/>
            <a:ext cx="1024097" cy="322598"/>
          </a:xfrm>
          <a:prstGeom prst="rect">
            <a:avLst/>
          </a:prstGeom>
          <a:solidFill>
            <a:schemeClr val="bg1">
              <a:lumMod val="8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Out of Scope</a:t>
            </a:r>
          </a:p>
        </p:txBody>
      </p:sp>
      <p:sp>
        <p:nvSpPr>
          <p:cNvPr id="105" name="Rectangle 104">
            <a:extLst>
              <a:ext uri="{FF2B5EF4-FFF2-40B4-BE49-F238E27FC236}">
                <a16:creationId xmlns:a16="http://schemas.microsoft.com/office/drawing/2014/main" id="{7F9DD419-BF93-469D-AC90-A64B8EA7AF9C}"/>
              </a:ext>
            </a:extLst>
          </p:cNvPr>
          <p:cNvSpPr/>
          <p:nvPr/>
        </p:nvSpPr>
        <p:spPr>
          <a:xfrm>
            <a:off x="1324512" y="6248930"/>
            <a:ext cx="1097280" cy="321691"/>
          </a:xfrm>
          <a:prstGeom prst="rect">
            <a:avLst/>
          </a:prstGeom>
          <a:solidFill>
            <a:srgbClr val="86BC25"/>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In Scope- L3 PTP Processes</a:t>
            </a:r>
            <a:endParaRPr lang="en-US" sz="750" b="1">
              <a:solidFill>
                <a:schemeClr val="tx1"/>
              </a:solidFill>
            </a:endParaRPr>
          </a:p>
        </p:txBody>
      </p:sp>
    </p:spTree>
    <p:extLst>
      <p:ext uri="{BB962C8B-B14F-4D97-AF65-F5344CB8AC3E}">
        <p14:creationId xmlns:p14="http://schemas.microsoft.com/office/powerpoint/2010/main" val="166795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t>Procure To Pay (PTP)</a:t>
            </a:r>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pPr algn="l" rtl="0" fontAlgn="base"/>
            <a:r>
              <a:rPr lang="en-US" b="0" i="0" u="none" strike="noStrike">
                <a:solidFill>
                  <a:srgbClr val="000000"/>
                </a:solidFill>
                <a:effectLst/>
                <a:latin typeface="Calibri" panose="020F0502020204030204" pitchFamily="34" charset="0"/>
              </a:rPr>
              <a:t>ORACLE CLOUD PROCURE TO PAY OVERVIEW</a:t>
            </a:r>
            <a:endParaRPr lang="en-US"/>
          </a:p>
        </p:txBody>
      </p:sp>
    </p:spTree>
    <p:extLst>
      <p:ext uri="{BB962C8B-B14F-4D97-AF65-F5344CB8AC3E}">
        <p14:creationId xmlns:p14="http://schemas.microsoft.com/office/powerpoint/2010/main" val="198890275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F69CDB-BAC7-4D30-A0B5-0A81FA194628}"/>
              </a:ext>
            </a:extLst>
          </p:cNvPr>
          <p:cNvSpPr>
            <a:spLocks noGrp="1"/>
          </p:cNvSpPr>
          <p:nvPr>
            <p:ph type="title"/>
          </p:nvPr>
        </p:nvSpPr>
        <p:spPr>
          <a:xfrm>
            <a:off x="501650" y="394620"/>
            <a:ext cx="11188700" cy="334099"/>
          </a:xfrm>
        </p:spPr>
        <p:txBody>
          <a:bodyPr vert="horz" lIns="0" tIns="0" rIns="0" bIns="0" rtlCol="0" anchor="t" anchorCtr="0">
            <a:noAutofit/>
          </a:bodyPr>
          <a:lstStyle/>
          <a:p>
            <a:r>
              <a:rPr lang="en-US" sz="3000" b="1">
                <a:cs typeface="Calibri Light"/>
              </a:rPr>
              <a:t>Description – Process Payments</a:t>
            </a:r>
          </a:p>
        </p:txBody>
      </p:sp>
      <p:sp>
        <p:nvSpPr>
          <p:cNvPr id="5" name="Text Placeholder 12">
            <a:extLst>
              <a:ext uri="{FF2B5EF4-FFF2-40B4-BE49-F238E27FC236}">
                <a16:creationId xmlns:a16="http://schemas.microsoft.com/office/drawing/2014/main" id="{47C6644F-EC13-42DD-AEE3-51928206F087}"/>
              </a:ext>
            </a:extLst>
          </p:cNvPr>
          <p:cNvSpPr txBox="1">
            <a:spLocks/>
          </p:cNvSpPr>
          <p:nvPr/>
        </p:nvSpPr>
        <p:spPr>
          <a:xfrm>
            <a:off x="558009" y="927010"/>
            <a:ext cx="3058494" cy="757255"/>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800" b="0" kern="1200">
                <a:solidFill>
                  <a:srgbClr val="53565A"/>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cs typeface="Calibri Light"/>
              </a:rPr>
              <a:t>Overview of Procure to Pay</a:t>
            </a:r>
          </a:p>
        </p:txBody>
      </p:sp>
      <p:sp>
        <p:nvSpPr>
          <p:cNvPr id="11" name="TextBox 10">
            <a:extLst>
              <a:ext uri="{FF2B5EF4-FFF2-40B4-BE49-F238E27FC236}">
                <a16:creationId xmlns:a16="http://schemas.microsoft.com/office/drawing/2014/main" id="{9A1D1F42-E802-4C30-BA24-4B2F21933EF3}"/>
              </a:ext>
            </a:extLst>
          </p:cNvPr>
          <p:cNvSpPr txBox="1"/>
          <p:nvPr/>
        </p:nvSpPr>
        <p:spPr>
          <a:xfrm>
            <a:off x="6307440" y="922757"/>
            <a:ext cx="5542168" cy="5305774"/>
          </a:xfrm>
          <a:prstGeom prst="rect">
            <a:avLst/>
          </a:prstGeom>
          <a:ln w="158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lIns="45720" tIns="45720" rIns="45720" bIns="45720" anchor="ctr"/>
          <a:lstStyle>
            <a:defPPr>
              <a:defRPr lang="en-US"/>
            </a:defPPr>
            <a:lvl1pPr marL="285750" indent="-285750">
              <a:buFont typeface="Arial" panose="020B0604020202020204" pitchFamily="34" charset="0"/>
              <a:buChar char="•"/>
              <a:defRPr sz="1400">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indent="0">
              <a:buNone/>
            </a:pPr>
            <a:r>
              <a:rPr lang="en-US" b="1" kern="0">
                <a:solidFill>
                  <a:srgbClr val="43B02A"/>
                </a:solidFill>
              </a:rPr>
              <a:t>Requisition : </a:t>
            </a:r>
            <a:r>
              <a:rPr lang="en-US" kern="0"/>
              <a:t>It is internal document to requesting the purchase of an item or service.</a:t>
            </a:r>
          </a:p>
          <a:p>
            <a:pPr marL="0" indent="0">
              <a:buNone/>
            </a:pPr>
            <a:r>
              <a:rPr lang="en-US" b="1" kern="0">
                <a:solidFill>
                  <a:srgbClr val="43B02A"/>
                </a:solidFill>
              </a:rPr>
              <a:t>Purchase Order : </a:t>
            </a:r>
            <a:r>
              <a:rPr lang="en-US" kern="0"/>
              <a:t>It is an official document  in which company commit to buy goods or services from supplier.</a:t>
            </a:r>
            <a:endParaRPr lang="en-US" kern="0">
              <a:cs typeface="Calibri"/>
            </a:endParaRPr>
          </a:p>
          <a:p>
            <a:pPr marL="0" indent="0">
              <a:buNone/>
            </a:pPr>
            <a:endParaRPr lang="en-US" b="1"/>
          </a:p>
          <a:p>
            <a:pPr marL="0" indent="0">
              <a:buNone/>
            </a:pPr>
            <a:r>
              <a:rPr lang="en-US" b="1" kern="0">
                <a:solidFill>
                  <a:srgbClr val="43B02A"/>
                </a:solidFill>
              </a:rPr>
              <a:t>Receive Goods : </a:t>
            </a:r>
            <a:r>
              <a:rPr lang="en-US" kern="0"/>
              <a:t>Goods receipt is prepared at time of material received from supplier against purchase order.</a:t>
            </a:r>
            <a:endParaRPr lang="en-US" kern="0">
              <a:cs typeface="Calibri"/>
            </a:endParaRPr>
          </a:p>
          <a:p>
            <a:pPr marL="0" indent="0">
              <a:buNone/>
            </a:pPr>
            <a:endParaRPr lang="en-US" b="1"/>
          </a:p>
          <a:p>
            <a:pPr marL="0" indent="0">
              <a:buNone/>
            </a:pPr>
            <a:r>
              <a:rPr lang="en-US" b="1" kern="0">
                <a:solidFill>
                  <a:srgbClr val="43B02A"/>
                </a:solidFill>
              </a:rPr>
              <a:t>Supplier : </a:t>
            </a:r>
            <a:r>
              <a:rPr lang="en-US" kern="0"/>
              <a:t>Supplier is  party to whom purchase order issued and Goods and service received against that.</a:t>
            </a:r>
          </a:p>
          <a:p>
            <a:endParaRPr lang="en-US" b="1"/>
          </a:p>
          <a:p>
            <a:pPr marL="0" indent="0">
              <a:buNone/>
            </a:pPr>
            <a:r>
              <a:rPr lang="en-US" b="1" kern="0">
                <a:solidFill>
                  <a:srgbClr val="43B02A"/>
                </a:solidFill>
              </a:rPr>
              <a:t>Invoice : </a:t>
            </a:r>
            <a:r>
              <a:rPr lang="en-US" kern="0">
                <a:solidFill>
                  <a:schemeClr val="tx1"/>
                </a:solidFill>
              </a:rPr>
              <a:t>A</a:t>
            </a:r>
            <a:r>
              <a:rPr lang="en-US" kern="0">
                <a:cs typeface="Calibri"/>
              </a:rPr>
              <a:t>n invoice is an itemized commercial document that records the products or services delivered to the customer, the total amount due, and the preferred payment method.</a:t>
            </a:r>
          </a:p>
          <a:p>
            <a:pPr marL="0" indent="0">
              <a:buNone/>
            </a:pPr>
            <a:endParaRPr lang="en-US" b="1"/>
          </a:p>
          <a:p>
            <a:pPr marL="0" indent="0">
              <a:buNone/>
            </a:pPr>
            <a:r>
              <a:rPr lang="en-US" b="1" kern="0">
                <a:solidFill>
                  <a:srgbClr val="43B02A"/>
                </a:solidFill>
              </a:rPr>
              <a:t>Payment : </a:t>
            </a:r>
            <a:r>
              <a:rPr lang="en-US" kern="0">
                <a:cs typeface="Calibri"/>
              </a:rPr>
              <a:t>Depending on payment method in the invoice disbursement will be  done either through bank transfers or check print or offline payments.</a:t>
            </a:r>
          </a:p>
          <a:p>
            <a:pPr marL="0" indent="0">
              <a:buNone/>
            </a:pPr>
            <a:endParaRPr lang="en-US" kern="0">
              <a:cs typeface="Calibri"/>
            </a:endParaRPr>
          </a:p>
          <a:p>
            <a:pPr marL="0" indent="0">
              <a:buNone/>
            </a:pPr>
            <a:r>
              <a:rPr lang="en-US" b="1" kern="0">
                <a:solidFill>
                  <a:schemeClr val="tx1">
                    <a:lumMod val="65000"/>
                    <a:lumOff val="35000"/>
                  </a:schemeClr>
                </a:solidFill>
                <a:ea typeface="+mn-lt"/>
                <a:cs typeface="+mn-lt"/>
              </a:rPr>
              <a:t>Reconciliation :</a:t>
            </a:r>
            <a:r>
              <a:rPr lang="en-US" b="1" kern="0">
                <a:solidFill>
                  <a:srgbClr val="43B02A"/>
                </a:solidFill>
                <a:ea typeface="+mn-lt"/>
                <a:cs typeface="+mn-lt"/>
              </a:rPr>
              <a:t> </a:t>
            </a:r>
            <a:r>
              <a:rPr lang="en-US" kern="0">
                <a:ea typeface="+mn-lt"/>
                <a:cs typeface="+mn-lt"/>
              </a:rPr>
              <a:t>Reconciliation of system payment entries with respective bank statement</a:t>
            </a:r>
            <a:r>
              <a:rPr lang="en-US" b="1" kern="0">
                <a:ea typeface="+mn-lt"/>
                <a:cs typeface="+mn-lt"/>
              </a:rPr>
              <a:t> </a:t>
            </a:r>
            <a:endParaRPr lang="en-US"/>
          </a:p>
          <a:p>
            <a:pPr marL="0" indent="0">
              <a:buNone/>
            </a:pPr>
            <a:endParaRPr lang="en-US" b="1" kern="0"/>
          </a:p>
          <a:p>
            <a:pPr marL="0" indent="0">
              <a:buNone/>
            </a:pPr>
            <a:r>
              <a:rPr lang="en-US" b="1" kern="0">
                <a:solidFill>
                  <a:srgbClr val="43B02A"/>
                </a:solidFill>
              </a:rPr>
              <a:t>Accounting &amp; GL Posting </a:t>
            </a:r>
            <a:r>
              <a:rPr lang="en-US" b="1" kern="0">
                <a:solidFill>
                  <a:srgbClr val="43B02A"/>
                </a:solidFill>
                <a:cs typeface="Calibri"/>
              </a:rPr>
              <a:t>: </a:t>
            </a:r>
            <a:r>
              <a:rPr lang="en-US" kern="0">
                <a:cs typeface="Calibri"/>
              </a:rPr>
              <a:t>Create accounting executed to transfer data to GL module.</a:t>
            </a:r>
            <a:endParaRPr lang="en-US"/>
          </a:p>
        </p:txBody>
      </p:sp>
      <p:grpSp>
        <p:nvGrpSpPr>
          <p:cNvPr id="56" name="Group 55">
            <a:extLst>
              <a:ext uri="{FF2B5EF4-FFF2-40B4-BE49-F238E27FC236}">
                <a16:creationId xmlns:a16="http://schemas.microsoft.com/office/drawing/2014/main" id="{92CBE081-AD5C-4BB6-BC85-5368362BBFAE}"/>
              </a:ext>
            </a:extLst>
          </p:cNvPr>
          <p:cNvGrpSpPr/>
          <p:nvPr/>
        </p:nvGrpSpPr>
        <p:grpSpPr>
          <a:xfrm>
            <a:off x="280985" y="1629343"/>
            <a:ext cx="5880467" cy="4571740"/>
            <a:chOff x="280985" y="1629343"/>
            <a:chExt cx="5880467" cy="4571740"/>
          </a:xfrm>
        </p:grpSpPr>
        <p:sp>
          <p:nvSpPr>
            <p:cNvPr id="13" name="Rounded Rectangle 5">
              <a:extLst>
                <a:ext uri="{FF2B5EF4-FFF2-40B4-BE49-F238E27FC236}">
                  <a16:creationId xmlns:a16="http://schemas.microsoft.com/office/drawing/2014/main" id="{A3566384-9868-4097-8BE4-BA6067586319}"/>
                </a:ext>
              </a:extLst>
            </p:cNvPr>
            <p:cNvSpPr/>
            <p:nvPr/>
          </p:nvSpPr>
          <p:spPr bwMode="gray">
            <a:xfrm>
              <a:off x="485332" y="5703002"/>
              <a:ext cx="1320729" cy="493240"/>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118533" tIns="118533" rIns="118533" bIns="118533" anchor="ctr"/>
            <a:lstStyle/>
            <a:p>
              <a:pPr algn="ctr"/>
              <a:r>
                <a:rPr lang="en-US" sz="1400" b="1">
                  <a:solidFill>
                    <a:srgbClr val="3C8A2E"/>
                  </a:solidFill>
                </a:rPr>
                <a:t>Procurement</a:t>
              </a:r>
            </a:p>
          </p:txBody>
        </p:sp>
        <p:sp>
          <p:nvSpPr>
            <p:cNvPr id="14" name="Rounded Rectangle 5">
              <a:extLst>
                <a:ext uri="{FF2B5EF4-FFF2-40B4-BE49-F238E27FC236}">
                  <a16:creationId xmlns:a16="http://schemas.microsoft.com/office/drawing/2014/main" id="{C2F1BBF4-C7CA-4E36-9805-75CAF18D8E0B}"/>
                </a:ext>
              </a:extLst>
            </p:cNvPr>
            <p:cNvSpPr/>
            <p:nvPr/>
          </p:nvSpPr>
          <p:spPr bwMode="gray">
            <a:xfrm>
              <a:off x="1806061" y="5696617"/>
              <a:ext cx="1320729" cy="493240"/>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118533" tIns="118533" rIns="118533" bIns="118533" anchor="ctr"/>
            <a:lstStyle/>
            <a:p>
              <a:pPr algn="ctr"/>
              <a:r>
                <a:rPr lang="en-US" sz="1400" b="1">
                  <a:solidFill>
                    <a:srgbClr val="3C8A2E"/>
                  </a:solidFill>
                </a:rPr>
                <a:t>Payables</a:t>
              </a:r>
            </a:p>
          </p:txBody>
        </p:sp>
        <p:sp>
          <p:nvSpPr>
            <p:cNvPr id="15" name="Rounded Rectangle 5">
              <a:extLst>
                <a:ext uri="{FF2B5EF4-FFF2-40B4-BE49-F238E27FC236}">
                  <a16:creationId xmlns:a16="http://schemas.microsoft.com/office/drawing/2014/main" id="{57FEE1F6-6D3D-4638-B731-531EB6346FC6}"/>
                </a:ext>
              </a:extLst>
            </p:cNvPr>
            <p:cNvSpPr/>
            <p:nvPr/>
          </p:nvSpPr>
          <p:spPr bwMode="gray">
            <a:xfrm>
              <a:off x="2956537" y="5696617"/>
              <a:ext cx="1320729" cy="493240"/>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118533" tIns="118533" rIns="118533" bIns="118533" anchor="ctr"/>
            <a:lstStyle/>
            <a:p>
              <a:pPr algn="ctr"/>
              <a:r>
                <a:rPr lang="en-US" sz="1400" b="1">
                  <a:solidFill>
                    <a:srgbClr val="3C8A2E"/>
                  </a:solidFill>
                </a:rPr>
                <a:t>Payments</a:t>
              </a:r>
            </a:p>
          </p:txBody>
        </p:sp>
        <p:sp>
          <p:nvSpPr>
            <p:cNvPr id="79" name="Left Bracket 78">
              <a:extLst>
                <a:ext uri="{FF2B5EF4-FFF2-40B4-BE49-F238E27FC236}">
                  <a16:creationId xmlns:a16="http://schemas.microsoft.com/office/drawing/2014/main" id="{99C39C33-CC2D-4C27-9443-B3E14BFCE1BF}"/>
                </a:ext>
              </a:extLst>
            </p:cNvPr>
            <p:cNvSpPr/>
            <p:nvPr/>
          </p:nvSpPr>
          <p:spPr>
            <a:xfrm rot="16200000">
              <a:off x="1082742" y="5042825"/>
              <a:ext cx="86019" cy="1048286"/>
            </a:xfrm>
            <a:prstGeom prst="lef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0" name="Left Bracket 79">
              <a:extLst>
                <a:ext uri="{FF2B5EF4-FFF2-40B4-BE49-F238E27FC236}">
                  <a16:creationId xmlns:a16="http://schemas.microsoft.com/office/drawing/2014/main" id="{D4A40819-9889-49E3-B4D7-F72B39FCFCFF}"/>
                </a:ext>
              </a:extLst>
            </p:cNvPr>
            <p:cNvSpPr/>
            <p:nvPr/>
          </p:nvSpPr>
          <p:spPr>
            <a:xfrm rot="16200000">
              <a:off x="2403211" y="5045584"/>
              <a:ext cx="86020" cy="1048285"/>
            </a:xfrm>
            <a:prstGeom prst="lef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1" name="Left Bracket 80">
              <a:extLst>
                <a:ext uri="{FF2B5EF4-FFF2-40B4-BE49-F238E27FC236}">
                  <a16:creationId xmlns:a16="http://schemas.microsoft.com/office/drawing/2014/main" id="{3CD7A19D-979E-43E5-BB25-89EBF75E9BE6}"/>
                </a:ext>
              </a:extLst>
            </p:cNvPr>
            <p:cNvSpPr/>
            <p:nvPr/>
          </p:nvSpPr>
          <p:spPr>
            <a:xfrm rot="16200000">
              <a:off x="3538672" y="5186915"/>
              <a:ext cx="95722" cy="768270"/>
            </a:xfrm>
            <a:prstGeom prst="lef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4" name="Group 53">
              <a:extLst>
                <a:ext uri="{FF2B5EF4-FFF2-40B4-BE49-F238E27FC236}">
                  <a16:creationId xmlns:a16="http://schemas.microsoft.com/office/drawing/2014/main" id="{AFD1FBB9-1829-4A82-AB8D-D6A234E94750}"/>
                </a:ext>
              </a:extLst>
            </p:cNvPr>
            <p:cNvGrpSpPr/>
            <p:nvPr/>
          </p:nvGrpSpPr>
          <p:grpSpPr>
            <a:xfrm>
              <a:off x="4840723" y="5528029"/>
              <a:ext cx="1320729" cy="673054"/>
              <a:chOff x="3807799" y="5523188"/>
              <a:chExt cx="1320729" cy="673054"/>
            </a:xfrm>
          </p:grpSpPr>
          <p:sp>
            <p:nvSpPr>
              <p:cNvPr id="76" name="Rounded Rectangle 5">
                <a:extLst>
                  <a:ext uri="{FF2B5EF4-FFF2-40B4-BE49-F238E27FC236}">
                    <a16:creationId xmlns:a16="http://schemas.microsoft.com/office/drawing/2014/main" id="{6AE2A38A-F3A1-454F-89C2-D8A7C7952537}"/>
                  </a:ext>
                </a:extLst>
              </p:cNvPr>
              <p:cNvSpPr/>
              <p:nvPr/>
            </p:nvSpPr>
            <p:spPr bwMode="gray">
              <a:xfrm>
                <a:off x="3807799" y="5703002"/>
                <a:ext cx="1320729" cy="493240"/>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118533" tIns="118533" rIns="118533" bIns="118533" anchor="ctr"/>
              <a:lstStyle/>
              <a:p>
                <a:pPr algn="ctr"/>
                <a:r>
                  <a:rPr lang="en-US" sz="1400" b="1">
                    <a:solidFill>
                      <a:srgbClr val="3C8A2E"/>
                    </a:solidFill>
                  </a:rPr>
                  <a:t>General Ledger</a:t>
                </a:r>
              </a:p>
            </p:txBody>
          </p:sp>
          <p:sp>
            <p:nvSpPr>
              <p:cNvPr id="82" name="Left Bracket 81">
                <a:extLst>
                  <a:ext uri="{FF2B5EF4-FFF2-40B4-BE49-F238E27FC236}">
                    <a16:creationId xmlns:a16="http://schemas.microsoft.com/office/drawing/2014/main" id="{13E04E9B-E31C-4E79-86F7-978244F1EC21}"/>
                  </a:ext>
                </a:extLst>
              </p:cNvPr>
              <p:cNvSpPr/>
              <p:nvPr/>
            </p:nvSpPr>
            <p:spPr>
              <a:xfrm rot="16200000">
                <a:off x="4422196" y="5192554"/>
                <a:ext cx="102108" cy="763375"/>
              </a:xfrm>
              <a:prstGeom prst="lef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5B0016EB-DB9E-4A5E-9BFB-ABA2E04E6BBC}"/>
                </a:ext>
              </a:extLst>
            </p:cNvPr>
            <p:cNvGrpSpPr/>
            <p:nvPr/>
          </p:nvGrpSpPr>
          <p:grpSpPr>
            <a:xfrm>
              <a:off x="3923939" y="5523188"/>
              <a:ext cx="1320729" cy="675388"/>
              <a:chOff x="4742188" y="5524597"/>
              <a:chExt cx="1320729" cy="675388"/>
            </a:xfrm>
          </p:grpSpPr>
          <p:sp>
            <p:nvSpPr>
              <p:cNvPr id="16" name="Rounded Rectangle 5">
                <a:extLst>
                  <a:ext uri="{FF2B5EF4-FFF2-40B4-BE49-F238E27FC236}">
                    <a16:creationId xmlns:a16="http://schemas.microsoft.com/office/drawing/2014/main" id="{0CAAD1EA-08FF-4FA7-8DFC-51F4A55275AD}"/>
                  </a:ext>
                </a:extLst>
              </p:cNvPr>
              <p:cNvSpPr/>
              <p:nvPr/>
            </p:nvSpPr>
            <p:spPr bwMode="gray">
              <a:xfrm>
                <a:off x="4742188" y="5706745"/>
                <a:ext cx="1320729" cy="493240"/>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118533" tIns="118533" rIns="118533" bIns="118533" anchor="ctr"/>
              <a:lstStyle/>
              <a:p>
                <a:pPr algn="ctr"/>
                <a:r>
                  <a:rPr lang="en-US" sz="1400" b="1">
                    <a:solidFill>
                      <a:srgbClr val="53565A"/>
                    </a:solidFill>
                  </a:rPr>
                  <a:t>Cash Management</a:t>
                </a:r>
              </a:p>
            </p:txBody>
          </p:sp>
          <p:sp>
            <p:nvSpPr>
              <p:cNvPr id="83" name="Left Bracket 82">
                <a:extLst>
                  <a:ext uri="{FF2B5EF4-FFF2-40B4-BE49-F238E27FC236}">
                    <a16:creationId xmlns:a16="http://schemas.microsoft.com/office/drawing/2014/main" id="{4BC043BA-211E-4AE7-99DA-7F86F72715A9}"/>
                  </a:ext>
                </a:extLst>
              </p:cNvPr>
              <p:cNvSpPr/>
              <p:nvPr/>
            </p:nvSpPr>
            <p:spPr>
              <a:xfrm rot="16200000">
                <a:off x="5353705" y="5193963"/>
                <a:ext cx="102108" cy="763375"/>
              </a:xfrm>
              <a:prstGeom prst="lef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8" name="Straight Connector 17">
              <a:extLst>
                <a:ext uri="{FF2B5EF4-FFF2-40B4-BE49-F238E27FC236}">
                  <a16:creationId xmlns:a16="http://schemas.microsoft.com/office/drawing/2014/main" id="{CEDF712F-F4D9-4CB6-B81A-BF0F83CF531E}"/>
                </a:ext>
              </a:extLst>
            </p:cNvPr>
            <p:cNvCxnSpPr>
              <a:cxnSpLocks/>
              <a:stCxn id="47" idx="2"/>
              <a:endCxn id="46" idx="0"/>
            </p:cNvCxnSpPr>
            <p:nvPr/>
          </p:nvCxnSpPr>
          <p:spPr>
            <a:xfrm>
              <a:off x="620155" y="2405121"/>
              <a:ext cx="6058" cy="460391"/>
            </a:xfrm>
            <a:prstGeom prst="line">
              <a:avLst/>
            </a:prstGeom>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04BC25F-26BA-45E4-8CD9-733505FC720D}"/>
                </a:ext>
              </a:extLst>
            </p:cNvPr>
            <p:cNvCxnSpPr>
              <a:cxnSpLocks/>
              <a:stCxn id="45" idx="2"/>
              <a:endCxn id="44" idx="0"/>
            </p:cNvCxnSpPr>
            <p:nvPr/>
          </p:nvCxnSpPr>
          <p:spPr>
            <a:xfrm>
              <a:off x="623360" y="3768310"/>
              <a:ext cx="1183" cy="513923"/>
            </a:xfrm>
            <a:prstGeom prst="line">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0" name="Straight Connector 19">
              <a:extLst>
                <a:ext uri="{FF2B5EF4-FFF2-40B4-BE49-F238E27FC236}">
                  <a16:creationId xmlns:a16="http://schemas.microsoft.com/office/drawing/2014/main" id="{D8A54585-96C1-4E4B-9E6B-C18E48226AB8}"/>
                </a:ext>
              </a:extLst>
            </p:cNvPr>
            <p:cNvCxnSpPr>
              <a:cxnSpLocks/>
              <a:stCxn id="40" idx="3"/>
              <a:endCxn id="36" idx="1"/>
            </p:cNvCxnSpPr>
            <p:nvPr/>
          </p:nvCxnSpPr>
          <p:spPr>
            <a:xfrm>
              <a:off x="2982668" y="3214432"/>
              <a:ext cx="289544" cy="53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3F4B016-E994-474B-A7CC-DD0C6CD11422}"/>
                </a:ext>
              </a:extLst>
            </p:cNvPr>
            <p:cNvCxnSpPr>
              <a:cxnSpLocks/>
              <a:stCxn id="46" idx="3"/>
              <a:endCxn id="42" idx="1"/>
            </p:cNvCxnSpPr>
            <p:nvPr/>
          </p:nvCxnSpPr>
          <p:spPr>
            <a:xfrm>
              <a:off x="942961" y="3182261"/>
              <a:ext cx="3456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169FA9-F682-4CF3-AD7D-F1167232ED38}"/>
                </a:ext>
              </a:extLst>
            </p:cNvPr>
            <p:cNvCxnSpPr>
              <a:cxnSpLocks/>
              <a:stCxn id="42" idx="3"/>
              <a:endCxn id="40" idx="1"/>
            </p:cNvCxnSpPr>
            <p:nvPr/>
          </p:nvCxnSpPr>
          <p:spPr>
            <a:xfrm>
              <a:off x="1922078" y="3182261"/>
              <a:ext cx="271574" cy="321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4AED022-A145-42B8-92B8-8BDBAC0C85F7}"/>
                </a:ext>
              </a:extLst>
            </p:cNvPr>
            <p:cNvGrpSpPr/>
            <p:nvPr/>
          </p:nvGrpSpPr>
          <p:grpSpPr>
            <a:xfrm>
              <a:off x="280985" y="1629343"/>
              <a:ext cx="678339" cy="775778"/>
              <a:chOff x="595409" y="2040887"/>
              <a:chExt cx="678339" cy="775778"/>
            </a:xfrm>
          </p:grpSpPr>
          <p:sp>
            <p:nvSpPr>
              <p:cNvPr id="47" name="TextBox 46">
                <a:extLst>
                  <a:ext uri="{FF2B5EF4-FFF2-40B4-BE49-F238E27FC236}">
                    <a16:creationId xmlns:a16="http://schemas.microsoft.com/office/drawing/2014/main" id="{6607941C-EAF3-4FD3-AED5-2EC4DCAD638C}"/>
                  </a:ext>
                </a:extLst>
              </p:cNvPr>
              <p:cNvSpPr txBox="1"/>
              <p:nvPr/>
            </p:nvSpPr>
            <p:spPr>
              <a:xfrm>
                <a:off x="595409" y="2660457"/>
                <a:ext cx="678339" cy="156208"/>
              </a:xfrm>
              <a:prstGeom prst="rect">
                <a:avLst/>
              </a:prstGeom>
              <a:noFill/>
            </p:spPr>
            <p:txBody>
              <a:bodyPr wrap="square" lIns="0" tIns="0" rIns="0" bIns="0" rtlCol="0">
                <a:spAutoFit/>
              </a:bodyPr>
              <a:lstStyle/>
              <a:p>
                <a:pPr algn="ctr">
                  <a:spcBef>
                    <a:spcPts val="600"/>
                  </a:spcBef>
                  <a:buSzPct val="100000"/>
                </a:pPr>
                <a:r>
                  <a:rPr lang="en-US" sz="1000" b="1">
                    <a:solidFill>
                      <a:srgbClr val="313131"/>
                    </a:solidFill>
                  </a:rPr>
                  <a:t>Requisition</a:t>
                </a:r>
              </a:p>
            </p:txBody>
          </p:sp>
          <p:pic>
            <p:nvPicPr>
              <p:cNvPr id="48" name="Graphic 47" descr="Packing Box Open with solid fill">
                <a:extLst>
                  <a:ext uri="{FF2B5EF4-FFF2-40B4-BE49-F238E27FC236}">
                    <a16:creationId xmlns:a16="http://schemas.microsoft.com/office/drawing/2014/main" id="{25668A92-FDDB-40E8-B63E-63F27C3CAB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4080" y="2040887"/>
                <a:ext cx="633498" cy="633498"/>
              </a:xfrm>
              <a:prstGeom prst="rect">
                <a:avLst/>
              </a:prstGeom>
            </p:spPr>
          </p:pic>
        </p:grpSp>
        <p:grpSp>
          <p:nvGrpSpPr>
            <p:cNvPr id="25" name="Group 24">
              <a:extLst>
                <a:ext uri="{FF2B5EF4-FFF2-40B4-BE49-F238E27FC236}">
                  <a16:creationId xmlns:a16="http://schemas.microsoft.com/office/drawing/2014/main" id="{FA3795AE-2355-4148-AC18-CE977BE8DB9E}"/>
                </a:ext>
              </a:extLst>
            </p:cNvPr>
            <p:cNvGrpSpPr/>
            <p:nvPr/>
          </p:nvGrpSpPr>
          <p:grpSpPr>
            <a:xfrm>
              <a:off x="284190" y="2865512"/>
              <a:ext cx="678339" cy="902798"/>
              <a:chOff x="578806" y="3304700"/>
              <a:chExt cx="678339" cy="902798"/>
            </a:xfrm>
          </p:grpSpPr>
          <p:sp>
            <p:nvSpPr>
              <p:cNvPr id="45" name="TextBox 44">
                <a:extLst>
                  <a:ext uri="{FF2B5EF4-FFF2-40B4-BE49-F238E27FC236}">
                    <a16:creationId xmlns:a16="http://schemas.microsoft.com/office/drawing/2014/main" id="{342C44B1-B25C-40BE-A20B-95E351409D55}"/>
                  </a:ext>
                </a:extLst>
              </p:cNvPr>
              <p:cNvSpPr txBox="1"/>
              <p:nvPr/>
            </p:nvSpPr>
            <p:spPr>
              <a:xfrm>
                <a:off x="578806" y="3892027"/>
                <a:ext cx="678339" cy="315471"/>
              </a:xfrm>
              <a:prstGeom prst="rect">
                <a:avLst/>
              </a:prstGeom>
              <a:noFill/>
            </p:spPr>
            <p:txBody>
              <a:bodyPr wrap="square" lIns="0" tIns="0" rIns="0" bIns="0" rtlCol="0">
                <a:spAutoFit/>
              </a:bodyPr>
              <a:lstStyle/>
              <a:p>
                <a:pPr algn="ctr">
                  <a:spcBef>
                    <a:spcPts val="600"/>
                  </a:spcBef>
                  <a:buSzPct val="100000"/>
                </a:pPr>
                <a:r>
                  <a:rPr lang="en-US" sz="1050" b="1">
                    <a:solidFill>
                      <a:srgbClr val="313131"/>
                    </a:solidFill>
                  </a:rPr>
                  <a:t> </a:t>
                </a:r>
                <a:r>
                  <a:rPr lang="en-US" sz="1000" b="1">
                    <a:solidFill>
                      <a:srgbClr val="313131"/>
                    </a:solidFill>
                  </a:rPr>
                  <a:t>Purchase</a:t>
                </a:r>
                <a:r>
                  <a:rPr lang="en-US" sz="1050" b="1">
                    <a:solidFill>
                      <a:srgbClr val="313131"/>
                    </a:solidFill>
                  </a:rPr>
                  <a:t> </a:t>
                </a:r>
                <a:r>
                  <a:rPr lang="en-US" sz="1000" b="1">
                    <a:solidFill>
                      <a:srgbClr val="313131"/>
                    </a:solidFill>
                  </a:rPr>
                  <a:t>Order</a:t>
                </a:r>
                <a:endParaRPr lang="en-US" sz="1050" b="1">
                  <a:solidFill>
                    <a:srgbClr val="313131"/>
                  </a:solidFill>
                </a:endParaRPr>
              </a:p>
            </p:txBody>
          </p:sp>
          <p:pic>
            <p:nvPicPr>
              <p:cNvPr id="46" name="Graphic 45" descr="Clipboard Checked with solid fill">
                <a:extLst>
                  <a:ext uri="{FF2B5EF4-FFF2-40B4-BE49-F238E27FC236}">
                    <a16:creationId xmlns:a16="http://schemas.microsoft.com/office/drawing/2014/main" id="{4143E413-B31A-4819-B26A-293E3E6783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4080" y="3304700"/>
                <a:ext cx="633497" cy="633497"/>
              </a:xfrm>
              <a:prstGeom prst="rect">
                <a:avLst/>
              </a:prstGeom>
            </p:spPr>
          </p:pic>
        </p:grpSp>
        <p:grpSp>
          <p:nvGrpSpPr>
            <p:cNvPr id="26" name="Group 25">
              <a:extLst>
                <a:ext uri="{FF2B5EF4-FFF2-40B4-BE49-F238E27FC236}">
                  <a16:creationId xmlns:a16="http://schemas.microsoft.com/office/drawing/2014/main" id="{ABAE0793-D518-44B7-BDCF-F8798A2B770C}"/>
                </a:ext>
              </a:extLst>
            </p:cNvPr>
            <p:cNvGrpSpPr/>
            <p:nvPr/>
          </p:nvGrpSpPr>
          <p:grpSpPr>
            <a:xfrm>
              <a:off x="285373" y="4282233"/>
              <a:ext cx="678339" cy="919709"/>
              <a:chOff x="572988" y="4692585"/>
              <a:chExt cx="678339" cy="919709"/>
            </a:xfrm>
          </p:grpSpPr>
          <p:sp>
            <p:nvSpPr>
              <p:cNvPr id="43" name="TextBox 42">
                <a:extLst>
                  <a:ext uri="{FF2B5EF4-FFF2-40B4-BE49-F238E27FC236}">
                    <a16:creationId xmlns:a16="http://schemas.microsoft.com/office/drawing/2014/main" id="{119AFF65-10DF-48C7-A37F-17DC975F226A}"/>
                  </a:ext>
                </a:extLst>
              </p:cNvPr>
              <p:cNvSpPr txBox="1"/>
              <p:nvPr/>
            </p:nvSpPr>
            <p:spPr>
              <a:xfrm>
                <a:off x="572988" y="5296823"/>
                <a:ext cx="678339" cy="315471"/>
              </a:xfrm>
              <a:prstGeom prst="rect">
                <a:avLst/>
              </a:prstGeom>
              <a:noFill/>
            </p:spPr>
            <p:txBody>
              <a:bodyPr wrap="square" lIns="0" tIns="0" rIns="0" bIns="0" rtlCol="0">
                <a:spAutoFit/>
              </a:bodyPr>
              <a:lstStyle/>
              <a:p>
                <a:pPr algn="ctr">
                  <a:spcBef>
                    <a:spcPts val="600"/>
                  </a:spcBef>
                  <a:buSzPct val="100000"/>
                </a:pPr>
                <a:r>
                  <a:rPr lang="en-US" sz="1000" b="1">
                    <a:solidFill>
                      <a:srgbClr val="313131"/>
                    </a:solidFill>
                  </a:rPr>
                  <a:t>Receive</a:t>
                </a:r>
                <a:r>
                  <a:rPr lang="en-US" sz="1050" b="1">
                    <a:solidFill>
                      <a:srgbClr val="313131"/>
                    </a:solidFill>
                  </a:rPr>
                  <a:t> </a:t>
                </a:r>
                <a:r>
                  <a:rPr lang="en-US" sz="1000" b="1">
                    <a:solidFill>
                      <a:srgbClr val="313131"/>
                    </a:solidFill>
                  </a:rPr>
                  <a:t>Goods</a:t>
                </a:r>
                <a:endParaRPr lang="en-US" sz="1050" b="1">
                  <a:solidFill>
                    <a:srgbClr val="313131"/>
                  </a:solidFill>
                </a:endParaRPr>
              </a:p>
            </p:txBody>
          </p:sp>
          <p:pic>
            <p:nvPicPr>
              <p:cNvPr id="44" name="Graphic 43" descr="Box with solid fill">
                <a:extLst>
                  <a:ext uri="{FF2B5EF4-FFF2-40B4-BE49-F238E27FC236}">
                    <a16:creationId xmlns:a16="http://schemas.microsoft.com/office/drawing/2014/main" id="{FEE28B0F-0208-472E-BA9B-04F3FB1341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5409" y="4692585"/>
                <a:ext cx="633498" cy="633498"/>
              </a:xfrm>
              <a:prstGeom prst="rect">
                <a:avLst/>
              </a:prstGeom>
            </p:spPr>
          </p:pic>
        </p:grpSp>
        <p:grpSp>
          <p:nvGrpSpPr>
            <p:cNvPr id="27" name="Group 26">
              <a:extLst>
                <a:ext uri="{FF2B5EF4-FFF2-40B4-BE49-F238E27FC236}">
                  <a16:creationId xmlns:a16="http://schemas.microsoft.com/office/drawing/2014/main" id="{4B99F684-8130-4567-9C90-74367857570A}"/>
                </a:ext>
              </a:extLst>
            </p:cNvPr>
            <p:cNvGrpSpPr/>
            <p:nvPr/>
          </p:nvGrpSpPr>
          <p:grpSpPr>
            <a:xfrm>
              <a:off x="1266159" y="2865512"/>
              <a:ext cx="678339" cy="823167"/>
              <a:chOff x="1549871" y="3467181"/>
              <a:chExt cx="678339" cy="823167"/>
            </a:xfrm>
          </p:grpSpPr>
          <p:sp>
            <p:nvSpPr>
              <p:cNvPr id="41" name="TextBox 40">
                <a:extLst>
                  <a:ext uri="{FF2B5EF4-FFF2-40B4-BE49-F238E27FC236}">
                    <a16:creationId xmlns:a16="http://schemas.microsoft.com/office/drawing/2014/main" id="{108EF09B-F1C2-4878-B7E3-3183DD333874}"/>
                  </a:ext>
                </a:extLst>
              </p:cNvPr>
              <p:cNvSpPr txBox="1"/>
              <p:nvPr/>
            </p:nvSpPr>
            <p:spPr>
              <a:xfrm>
                <a:off x="1549871" y="4134140"/>
                <a:ext cx="678339" cy="156208"/>
              </a:xfrm>
              <a:prstGeom prst="rect">
                <a:avLst/>
              </a:prstGeom>
              <a:noFill/>
            </p:spPr>
            <p:txBody>
              <a:bodyPr wrap="square" lIns="0" tIns="0" rIns="0" bIns="0" rtlCol="0">
                <a:spAutoFit/>
              </a:bodyPr>
              <a:lstStyle/>
              <a:p>
                <a:pPr algn="ctr">
                  <a:spcBef>
                    <a:spcPts val="600"/>
                  </a:spcBef>
                  <a:buSzPct val="100000"/>
                </a:pPr>
                <a:r>
                  <a:rPr lang="en-US" sz="1000" b="1">
                    <a:solidFill>
                      <a:srgbClr val="313131"/>
                    </a:solidFill>
                  </a:rPr>
                  <a:t> Supplier</a:t>
                </a:r>
              </a:p>
            </p:txBody>
          </p:sp>
          <p:pic>
            <p:nvPicPr>
              <p:cNvPr id="42" name="Graphic 41" descr="User with solid fill">
                <a:extLst>
                  <a:ext uri="{FF2B5EF4-FFF2-40B4-BE49-F238E27FC236}">
                    <a16:creationId xmlns:a16="http://schemas.microsoft.com/office/drawing/2014/main" id="{C61B2B58-BBBA-4EA3-873E-82ACFE9BEA2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72292" y="3467181"/>
                <a:ext cx="633498" cy="633498"/>
              </a:xfrm>
              <a:prstGeom prst="rect">
                <a:avLst/>
              </a:prstGeom>
            </p:spPr>
          </p:pic>
        </p:grpSp>
        <p:grpSp>
          <p:nvGrpSpPr>
            <p:cNvPr id="28" name="Group 27">
              <a:extLst>
                <a:ext uri="{FF2B5EF4-FFF2-40B4-BE49-F238E27FC236}">
                  <a16:creationId xmlns:a16="http://schemas.microsoft.com/office/drawing/2014/main" id="{0F7FA7A8-5ECA-44B5-8AE9-E0B6A7EB4FDD}"/>
                </a:ext>
              </a:extLst>
            </p:cNvPr>
            <p:cNvGrpSpPr/>
            <p:nvPr/>
          </p:nvGrpSpPr>
          <p:grpSpPr>
            <a:xfrm>
              <a:off x="2193652" y="2898564"/>
              <a:ext cx="789016" cy="790115"/>
              <a:chOff x="2557974" y="3562477"/>
              <a:chExt cx="789016" cy="790115"/>
            </a:xfrm>
          </p:grpSpPr>
          <p:sp>
            <p:nvSpPr>
              <p:cNvPr id="39" name="TextBox 38">
                <a:extLst>
                  <a:ext uri="{FF2B5EF4-FFF2-40B4-BE49-F238E27FC236}">
                    <a16:creationId xmlns:a16="http://schemas.microsoft.com/office/drawing/2014/main" id="{298A8F24-1994-442A-8BFE-1A37F42CB452}"/>
                  </a:ext>
                </a:extLst>
              </p:cNvPr>
              <p:cNvSpPr txBox="1"/>
              <p:nvPr/>
            </p:nvSpPr>
            <p:spPr>
              <a:xfrm>
                <a:off x="2723321" y="4196384"/>
                <a:ext cx="480762" cy="156208"/>
              </a:xfrm>
              <a:prstGeom prst="rect">
                <a:avLst/>
              </a:prstGeom>
              <a:noFill/>
            </p:spPr>
            <p:txBody>
              <a:bodyPr wrap="square" lIns="0" tIns="0" rIns="0" bIns="0" rtlCol="0">
                <a:spAutoFit/>
              </a:bodyPr>
              <a:lstStyle/>
              <a:p>
                <a:pPr algn="ctr">
                  <a:spcBef>
                    <a:spcPts val="600"/>
                  </a:spcBef>
                  <a:buSzPct val="100000"/>
                </a:pPr>
                <a:r>
                  <a:rPr lang="en-US" sz="1000" b="1">
                    <a:solidFill>
                      <a:srgbClr val="313131"/>
                    </a:solidFill>
                  </a:rPr>
                  <a:t>Invoice</a:t>
                </a:r>
              </a:p>
            </p:txBody>
          </p:sp>
          <p:pic>
            <p:nvPicPr>
              <p:cNvPr id="40" name="Picture 39" descr="Icon&#10;&#10;Description automatically generated">
                <a:extLst>
                  <a:ext uri="{FF2B5EF4-FFF2-40B4-BE49-F238E27FC236}">
                    <a16:creationId xmlns:a16="http://schemas.microsoft.com/office/drawing/2014/main" id="{F0C73F2E-78FE-47AA-B53D-60B2FE5DA9A6}"/>
                  </a:ext>
                </a:extLst>
              </p:cNvPr>
              <p:cNvPicPr>
                <a:picLocks noChangeAspect="1"/>
              </p:cNvPicPr>
              <p:nvPr/>
            </p:nvPicPr>
            <p:blipFill rotWithShape="1">
              <a:blip r:embed="rId11"/>
              <a:srcRect l="1" t="20156" r="278"/>
              <a:stretch/>
            </p:blipFill>
            <p:spPr>
              <a:xfrm>
                <a:off x="2557974" y="3562477"/>
                <a:ext cx="789016" cy="631736"/>
              </a:xfrm>
              <a:prstGeom prst="rect">
                <a:avLst/>
              </a:prstGeom>
            </p:spPr>
          </p:pic>
        </p:grpSp>
        <p:grpSp>
          <p:nvGrpSpPr>
            <p:cNvPr id="29" name="Group 28">
              <a:extLst>
                <a:ext uri="{FF2B5EF4-FFF2-40B4-BE49-F238E27FC236}">
                  <a16:creationId xmlns:a16="http://schemas.microsoft.com/office/drawing/2014/main" id="{24F93950-A9FC-465E-AFAB-71138999DA87}"/>
                </a:ext>
              </a:extLst>
            </p:cNvPr>
            <p:cNvGrpSpPr/>
            <p:nvPr/>
          </p:nvGrpSpPr>
          <p:grpSpPr>
            <a:xfrm>
              <a:off x="4178074" y="2898563"/>
              <a:ext cx="754243" cy="793004"/>
              <a:chOff x="4638194" y="3559588"/>
              <a:chExt cx="754243" cy="793004"/>
            </a:xfrm>
          </p:grpSpPr>
          <p:sp>
            <p:nvSpPr>
              <p:cNvPr id="37" name="TextBox 36">
                <a:extLst>
                  <a:ext uri="{FF2B5EF4-FFF2-40B4-BE49-F238E27FC236}">
                    <a16:creationId xmlns:a16="http://schemas.microsoft.com/office/drawing/2014/main" id="{6A8C53E9-6E78-4FF5-B8C8-DB4DB1197638}"/>
                  </a:ext>
                </a:extLst>
              </p:cNvPr>
              <p:cNvSpPr txBox="1"/>
              <p:nvPr/>
            </p:nvSpPr>
            <p:spPr>
              <a:xfrm>
                <a:off x="4638194" y="4196384"/>
                <a:ext cx="754243" cy="156208"/>
              </a:xfrm>
              <a:prstGeom prst="rect">
                <a:avLst/>
              </a:prstGeom>
              <a:noFill/>
            </p:spPr>
            <p:txBody>
              <a:bodyPr wrap="square" lIns="0" tIns="0" rIns="0" bIns="0" rtlCol="0">
                <a:spAutoFit/>
              </a:bodyPr>
              <a:lstStyle/>
              <a:p>
                <a:pPr algn="ctr">
                  <a:spcBef>
                    <a:spcPts val="600"/>
                  </a:spcBef>
                  <a:buSzPct val="100000"/>
                </a:pPr>
                <a:r>
                  <a:rPr lang="en-US" sz="1000" b="1">
                    <a:solidFill>
                      <a:srgbClr val="313131"/>
                    </a:solidFill>
                  </a:rPr>
                  <a:t>Reconciliation</a:t>
                </a:r>
              </a:p>
            </p:txBody>
          </p:sp>
          <p:pic>
            <p:nvPicPr>
              <p:cNvPr id="38" name="Graphic 37" descr="Register with solid fill">
                <a:extLst>
                  <a:ext uri="{FF2B5EF4-FFF2-40B4-BE49-F238E27FC236}">
                    <a16:creationId xmlns:a16="http://schemas.microsoft.com/office/drawing/2014/main" id="{228AFDB9-338B-48B4-B877-E4735FD4F64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99448" y="3559588"/>
                <a:ext cx="631736" cy="631736"/>
              </a:xfrm>
              <a:prstGeom prst="rect">
                <a:avLst/>
              </a:prstGeom>
            </p:spPr>
          </p:pic>
        </p:grpSp>
        <p:grpSp>
          <p:nvGrpSpPr>
            <p:cNvPr id="30" name="Group 29">
              <a:extLst>
                <a:ext uri="{FF2B5EF4-FFF2-40B4-BE49-F238E27FC236}">
                  <a16:creationId xmlns:a16="http://schemas.microsoft.com/office/drawing/2014/main" id="{3D9B34DD-1DFA-4FEC-8F59-2B1898D42B32}"/>
                </a:ext>
              </a:extLst>
            </p:cNvPr>
            <p:cNvGrpSpPr/>
            <p:nvPr/>
          </p:nvGrpSpPr>
          <p:grpSpPr>
            <a:xfrm>
              <a:off x="3201664" y="2963279"/>
              <a:ext cx="768270" cy="728288"/>
              <a:chOff x="3507999" y="3320835"/>
              <a:chExt cx="768270" cy="728288"/>
            </a:xfrm>
          </p:grpSpPr>
          <p:sp>
            <p:nvSpPr>
              <p:cNvPr id="35" name="TextBox 34">
                <a:extLst>
                  <a:ext uri="{FF2B5EF4-FFF2-40B4-BE49-F238E27FC236}">
                    <a16:creationId xmlns:a16="http://schemas.microsoft.com/office/drawing/2014/main" id="{31D33E1A-9E37-4132-B61D-16C463262F85}"/>
                  </a:ext>
                </a:extLst>
              </p:cNvPr>
              <p:cNvSpPr txBox="1"/>
              <p:nvPr/>
            </p:nvSpPr>
            <p:spPr>
              <a:xfrm>
                <a:off x="3507999" y="3892915"/>
                <a:ext cx="768270" cy="156208"/>
              </a:xfrm>
              <a:prstGeom prst="rect">
                <a:avLst/>
              </a:prstGeom>
              <a:noFill/>
            </p:spPr>
            <p:txBody>
              <a:bodyPr wrap="square" lIns="0" tIns="0" rIns="0" bIns="0" rtlCol="0">
                <a:spAutoFit/>
              </a:bodyPr>
              <a:lstStyle/>
              <a:p>
                <a:pPr algn="ctr">
                  <a:spcBef>
                    <a:spcPts val="600"/>
                  </a:spcBef>
                  <a:buSzPct val="100000"/>
                </a:pPr>
                <a:r>
                  <a:rPr lang="en-US" sz="1000" b="1">
                    <a:solidFill>
                      <a:srgbClr val="313131"/>
                    </a:solidFill>
                  </a:rPr>
                  <a:t>Disbursement</a:t>
                </a:r>
                <a:endParaRPr lang="en-US" sz="900" b="1">
                  <a:solidFill>
                    <a:srgbClr val="313131"/>
                  </a:solidFill>
                </a:endParaRPr>
              </a:p>
            </p:txBody>
          </p:sp>
          <p:pic>
            <p:nvPicPr>
              <p:cNvPr id="36" name="Picture 35" descr="Icon&#10;&#10;Description automatically generated">
                <a:extLst>
                  <a:ext uri="{FF2B5EF4-FFF2-40B4-BE49-F238E27FC236}">
                    <a16:creationId xmlns:a16="http://schemas.microsoft.com/office/drawing/2014/main" id="{9F2763FC-0A01-4C8A-A678-E6E04D037601}"/>
                  </a:ext>
                </a:extLst>
              </p:cNvPr>
              <p:cNvPicPr>
                <a:picLocks noChangeAspect="1"/>
              </p:cNvPicPr>
              <p:nvPr/>
            </p:nvPicPr>
            <p:blipFill rotWithShape="1">
              <a:blip r:embed="rId14"/>
              <a:srcRect l="14331" t="18413" r="14003" b="17679"/>
              <a:stretch/>
            </p:blipFill>
            <p:spPr>
              <a:xfrm>
                <a:off x="3578547" y="3320835"/>
                <a:ext cx="636565" cy="513043"/>
              </a:xfrm>
              <a:prstGeom prst="rect">
                <a:avLst/>
              </a:prstGeom>
            </p:spPr>
          </p:pic>
        </p:grpSp>
        <p:grpSp>
          <p:nvGrpSpPr>
            <p:cNvPr id="31" name="Group 30">
              <a:extLst>
                <a:ext uri="{FF2B5EF4-FFF2-40B4-BE49-F238E27FC236}">
                  <a16:creationId xmlns:a16="http://schemas.microsoft.com/office/drawing/2014/main" id="{31F3D656-2F45-4E5E-9E22-2051E32306A8}"/>
                </a:ext>
              </a:extLst>
            </p:cNvPr>
            <p:cNvGrpSpPr/>
            <p:nvPr/>
          </p:nvGrpSpPr>
          <p:grpSpPr>
            <a:xfrm>
              <a:off x="5179918" y="2896068"/>
              <a:ext cx="768270" cy="938823"/>
              <a:chOff x="4544407" y="2917101"/>
              <a:chExt cx="768270" cy="938823"/>
            </a:xfrm>
          </p:grpSpPr>
          <p:pic>
            <p:nvPicPr>
              <p:cNvPr id="33" name="Graphic 32" descr="Calculator with solid fill">
                <a:extLst>
                  <a:ext uri="{FF2B5EF4-FFF2-40B4-BE49-F238E27FC236}">
                    <a16:creationId xmlns:a16="http://schemas.microsoft.com/office/drawing/2014/main" id="{02E75A12-2152-4A77-9F1C-83ECA47810F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09157" y="2917101"/>
                <a:ext cx="633497" cy="633497"/>
              </a:xfrm>
              <a:prstGeom prst="rect">
                <a:avLst/>
              </a:prstGeom>
            </p:spPr>
          </p:pic>
          <p:sp>
            <p:nvSpPr>
              <p:cNvPr id="34" name="TextBox 33">
                <a:extLst>
                  <a:ext uri="{FF2B5EF4-FFF2-40B4-BE49-F238E27FC236}">
                    <a16:creationId xmlns:a16="http://schemas.microsoft.com/office/drawing/2014/main" id="{F9A676C1-5857-4BAB-A10E-CBE9E7D0B7FC}"/>
                  </a:ext>
                </a:extLst>
              </p:cNvPr>
              <p:cNvSpPr txBox="1"/>
              <p:nvPr/>
            </p:nvSpPr>
            <p:spPr>
              <a:xfrm>
                <a:off x="4544407" y="3548147"/>
                <a:ext cx="768270" cy="307777"/>
              </a:xfrm>
              <a:prstGeom prst="rect">
                <a:avLst/>
              </a:prstGeom>
              <a:noFill/>
            </p:spPr>
            <p:txBody>
              <a:bodyPr wrap="square" lIns="0" tIns="0" rIns="0" bIns="0" rtlCol="0">
                <a:spAutoFit/>
              </a:bodyPr>
              <a:lstStyle/>
              <a:p>
                <a:pPr algn="ctr">
                  <a:spcBef>
                    <a:spcPts val="600"/>
                  </a:spcBef>
                  <a:buSzPct val="100000"/>
                </a:pPr>
                <a:r>
                  <a:rPr lang="en-US" sz="1000" b="1">
                    <a:solidFill>
                      <a:srgbClr val="313131"/>
                    </a:solidFill>
                  </a:rPr>
                  <a:t>Accounting &amp; GL Posting</a:t>
                </a:r>
                <a:endParaRPr lang="en-US" sz="900" b="1">
                  <a:solidFill>
                    <a:srgbClr val="313131"/>
                  </a:solidFill>
                </a:endParaRPr>
              </a:p>
            </p:txBody>
          </p:sp>
        </p:grpSp>
        <p:cxnSp>
          <p:nvCxnSpPr>
            <p:cNvPr id="51" name="Straight Connector 50">
              <a:extLst>
                <a:ext uri="{FF2B5EF4-FFF2-40B4-BE49-F238E27FC236}">
                  <a16:creationId xmlns:a16="http://schemas.microsoft.com/office/drawing/2014/main" id="{560ACB24-2122-47E9-8DB7-3382E7921BC0}"/>
                </a:ext>
              </a:extLst>
            </p:cNvPr>
            <p:cNvCxnSpPr>
              <a:cxnSpLocks/>
              <a:stCxn id="36" idx="3"/>
              <a:endCxn id="38" idx="1"/>
            </p:cNvCxnSpPr>
            <p:nvPr/>
          </p:nvCxnSpPr>
          <p:spPr>
            <a:xfrm flipV="1">
              <a:off x="3908777" y="3214431"/>
              <a:ext cx="330551" cy="537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855C3D9-312C-4C8E-BD31-46F94B185BD6}"/>
                </a:ext>
              </a:extLst>
            </p:cNvPr>
            <p:cNvCxnSpPr>
              <a:cxnSpLocks/>
              <a:stCxn id="38" idx="3"/>
              <a:endCxn id="33" idx="1"/>
            </p:cNvCxnSpPr>
            <p:nvPr/>
          </p:nvCxnSpPr>
          <p:spPr>
            <a:xfrm flipV="1">
              <a:off x="4871064" y="3212817"/>
              <a:ext cx="373604" cy="1614"/>
            </a:xfrm>
            <a:prstGeom prst="line">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35209278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C7F9345-1174-0042-BEDF-B56A7EED2929}"/>
              </a:ext>
            </a:extLst>
          </p:cNvPr>
          <p:cNvSpPr>
            <a:spLocks noGrp="1"/>
          </p:cNvSpPr>
          <p:nvPr>
            <p:ph type="title"/>
          </p:nvPr>
        </p:nvSpPr>
        <p:spPr>
          <a:xfrm>
            <a:off x="469900" y="1968772"/>
            <a:ext cx="10418233" cy="680995"/>
          </a:xfrm>
        </p:spPr>
        <p:txBody>
          <a:bodyPr/>
          <a:lstStyle/>
          <a:p>
            <a:r>
              <a:rPr lang="en-US">
                <a:ea typeface="Open Sans"/>
                <a:cs typeface="Open Sans"/>
              </a:rPr>
              <a:t>Procure To Pay - Payables</a:t>
            </a:r>
            <a:endParaRPr lang="en-US"/>
          </a:p>
        </p:txBody>
      </p:sp>
      <p:sp>
        <p:nvSpPr>
          <p:cNvPr id="9" name="Text Placeholder 2">
            <a:extLst>
              <a:ext uri="{FF2B5EF4-FFF2-40B4-BE49-F238E27FC236}">
                <a16:creationId xmlns:a16="http://schemas.microsoft.com/office/drawing/2014/main" id="{DBCED7C7-5B3B-7B43-A6F4-7CACFA411D75}"/>
              </a:ext>
            </a:extLst>
          </p:cNvPr>
          <p:cNvSpPr>
            <a:spLocks noGrp="1"/>
          </p:cNvSpPr>
          <p:nvPr>
            <p:ph type="body" idx="1"/>
          </p:nvPr>
        </p:nvSpPr>
        <p:spPr>
          <a:xfrm>
            <a:off x="469899" y="2672699"/>
            <a:ext cx="10418233" cy="680995"/>
          </a:xfrm>
        </p:spPr>
        <p:txBody>
          <a:bodyPr/>
          <a:lstStyle/>
          <a:p>
            <a:pPr>
              <a:buClr>
                <a:srgbClr val="FFD100"/>
              </a:buClr>
            </a:pPr>
            <a:r>
              <a:rPr lang="en-US"/>
              <a:t>MANAGE PAYMENTS, BANK AND BANK BRANCHES</a:t>
            </a:r>
          </a:p>
        </p:txBody>
      </p:sp>
    </p:spTree>
    <p:extLst>
      <p:ext uri="{BB962C8B-B14F-4D97-AF65-F5344CB8AC3E}">
        <p14:creationId xmlns:p14="http://schemas.microsoft.com/office/powerpoint/2010/main" val="30617394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a:extLst>
              <a:ext uri="{FF2B5EF4-FFF2-40B4-BE49-F238E27FC236}">
                <a16:creationId xmlns:a16="http://schemas.microsoft.com/office/drawing/2014/main" id="{8EFD8275-551B-4DF5-A435-C98C676C2BE1}"/>
              </a:ext>
            </a:extLst>
          </p:cNvPr>
          <p:cNvSpPr txBox="1">
            <a:spLocks/>
          </p:cNvSpPr>
          <p:nvPr/>
        </p:nvSpPr>
        <p:spPr bwMode="gray">
          <a:xfrm>
            <a:off x="466693" y="470358"/>
            <a:ext cx="11188700" cy="334099"/>
          </a:xfrm>
          <a:prstGeom prst="rect">
            <a:avLst/>
          </a:prstGeom>
        </p:spPr>
        <p:txBody>
          <a:bodyPr vert="horz" lIns="0" tIns="0" rIns="0" bIns="0" rtlCol="0" anchor="ctr" anchorCtr="0">
            <a:noAutofit/>
          </a:bodyPr>
          <a:lstStyle>
            <a:lvl1pPr algn="l" defTabSz="914400" rtl="0" eaLnBrk="1" latinLnBrk="0" hangingPunct="1">
              <a:spcBef>
                <a:spcPct val="0"/>
              </a:spcBef>
              <a:buNone/>
              <a:defRPr sz="3200" b="1" i="0" kern="1200" spc="0" baseline="0">
                <a:solidFill>
                  <a:schemeClr val="bg1"/>
                </a:solidFill>
                <a:latin typeface="Arial"/>
                <a:ea typeface="Frutiger 65"/>
                <a:cs typeface="Arial"/>
              </a:defRPr>
            </a:lvl1pPr>
          </a:lstStyle>
          <a:p>
            <a:r>
              <a:rPr lang="en-US" sz="3000">
                <a:solidFill>
                  <a:schemeClr val="tx1"/>
                </a:solidFill>
                <a:latin typeface="+mj-lt"/>
                <a:cs typeface="Calibri Light"/>
              </a:rPr>
              <a:t>Manage Payments – Process Scope and overview</a:t>
            </a:r>
          </a:p>
        </p:txBody>
      </p:sp>
      <p:sp>
        <p:nvSpPr>
          <p:cNvPr id="19" name="Rectangle 2">
            <a:extLst>
              <a:ext uri="{FF2B5EF4-FFF2-40B4-BE49-F238E27FC236}">
                <a16:creationId xmlns:a16="http://schemas.microsoft.com/office/drawing/2014/main" id="{0FB788C6-ED57-436E-992B-6F8B2D1AFB99}"/>
              </a:ext>
            </a:extLst>
          </p:cNvPr>
          <p:cNvSpPr>
            <a:spLocks noChangeArrowheads="1"/>
          </p:cNvSpPr>
          <p:nvPr/>
        </p:nvSpPr>
        <p:spPr bwMode="auto">
          <a:xfrm>
            <a:off x="2813993" y="2904434"/>
            <a:ext cx="13817600" cy="732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3632" tIns="51816" rIns="103632" bIns="5181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036290"/>
            <a:r>
              <a:rPr lang="en-US" altLang="en-US" sz="2040">
                <a:solidFill>
                  <a:srgbClr val="000000"/>
                </a:solidFill>
                <a:latin typeface="Calibri" panose="020F0502020204030204" pitchFamily="34" charset="0"/>
                <a:cs typeface="Calibri" panose="020F0502020204030204" pitchFamily="34" charset="0"/>
              </a:rPr>
              <a:t> </a:t>
            </a:r>
            <a:endParaRPr lang="en-US" altLang="en-US" sz="2040">
              <a:latin typeface="Calibri" panose="020F0502020204030204" pitchFamily="34" charset="0"/>
              <a:cs typeface="Calibri" panose="020F0502020204030204" pitchFamily="34" charset="0"/>
            </a:endParaRPr>
          </a:p>
          <a:p>
            <a:pPr defTabSz="1036290"/>
            <a:endParaRPr lang="en-US" altLang="en-US" sz="2040">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BD60C90D-EA3F-45BA-9F79-A10DA4CED680}"/>
              </a:ext>
            </a:extLst>
          </p:cNvPr>
          <p:cNvSpPr txBox="1"/>
          <p:nvPr/>
        </p:nvSpPr>
        <p:spPr>
          <a:xfrm>
            <a:off x="466693" y="893893"/>
            <a:ext cx="7143205" cy="276999"/>
          </a:xfrm>
          <a:prstGeom prst="rect">
            <a:avLst/>
          </a:prstGeom>
        </p:spPr>
        <p:txBody>
          <a:bodyPr vert="horz" lIns="0" tIns="0" rIns="0" bIns="0" rtlCol="0">
            <a:noAutofit/>
          </a:bodyPr>
          <a:lstStyle>
            <a:defPPr>
              <a:defRPr lang="en-US"/>
            </a:defPPr>
            <a:lvl1pPr indent="0">
              <a:spcBef>
                <a:spcPts val="0"/>
              </a:spcBef>
              <a:spcAft>
                <a:spcPts val="1000"/>
              </a:spcAft>
              <a:buSzPct val="100000"/>
              <a:buFontTx/>
              <a:buNone/>
              <a:defRPr b="0">
                <a:solidFill>
                  <a:srgbClr val="53565A"/>
                </a:solidFill>
                <a:cs typeface="Calibri Light" panose="020F0302020204030204" pitchFamily="34" charset="0"/>
              </a:defRPr>
            </a:lvl1pPr>
            <a:lvl2pPr marL="139700" indent="-139700">
              <a:spcBef>
                <a:spcPts val="0"/>
              </a:spcBef>
              <a:spcAft>
                <a:spcPts val="1000"/>
              </a:spcAft>
              <a:buClrTx/>
              <a:buSzPct val="100000"/>
              <a:buFont typeface="Arial" panose="020B0604020202020204" pitchFamily="34" charset="0"/>
              <a:buChar char="•"/>
              <a:defRPr sz="1300" b="0">
                <a:cs typeface="Calibri Light" panose="020F0302020204030204" pitchFamily="34" charset="0"/>
              </a:defRPr>
            </a:lvl2pPr>
            <a:lvl3pPr marL="304800" indent="-139700">
              <a:spcBef>
                <a:spcPts val="0"/>
              </a:spcBef>
              <a:spcAft>
                <a:spcPts val="1000"/>
              </a:spcAft>
              <a:buClrTx/>
              <a:buSzPct val="100000"/>
              <a:buFont typeface="Arial" panose="020B0604020202020204" pitchFamily="34" charset="0"/>
              <a:buChar char="−"/>
              <a:defRPr sz="1300">
                <a:cs typeface="Calibri Light" panose="020F0302020204030204" pitchFamily="34" charset="0"/>
              </a:defRPr>
            </a:lvl3pPr>
            <a:lvl4pPr marL="469900" indent="-139700">
              <a:spcBef>
                <a:spcPts val="0"/>
              </a:spcBef>
              <a:spcAft>
                <a:spcPts val="1000"/>
              </a:spcAft>
              <a:buClrTx/>
              <a:buSzPct val="100000"/>
              <a:buFont typeface="Arial" panose="020B0604020202020204" pitchFamily="34" charset="0"/>
              <a:buChar char="◦"/>
              <a:defRPr sz="1300" baseline="0">
                <a:cs typeface="Calibri Light" panose="020F0302020204030204" pitchFamily="34" charset="0"/>
              </a:defRPr>
            </a:lvl4pPr>
            <a:lvl5pPr marL="635000" indent="-139700" defTabSz="798513">
              <a:spcBef>
                <a:spcPts val="0"/>
              </a:spcBef>
              <a:spcAft>
                <a:spcPts val="1000"/>
              </a:spcAft>
              <a:buClrTx/>
              <a:buSzPct val="100000"/>
              <a:buFont typeface="Arial" panose="020B0604020202020204" pitchFamily="34" charset="0"/>
              <a:buChar char="−"/>
              <a:tabLst/>
              <a:defRPr sz="1300" baseline="0">
                <a:cs typeface="Calibri Light" panose="020F030202020403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a:t>Supplier Invoice-Payment Lifecycle</a:t>
            </a:r>
          </a:p>
        </p:txBody>
      </p:sp>
      <p:grpSp>
        <p:nvGrpSpPr>
          <p:cNvPr id="3" name="Group 2">
            <a:extLst>
              <a:ext uri="{FF2B5EF4-FFF2-40B4-BE49-F238E27FC236}">
                <a16:creationId xmlns:a16="http://schemas.microsoft.com/office/drawing/2014/main" id="{D3DAAD29-78D5-4B8C-A13D-60A413AF5289}"/>
              </a:ext>
            </a:extLst>
          </p:cNvPr>
          <p:cNvGrpSpPr/>
          <p:nvPr/>
        </p:nvGrpSpPr>
        <p:grpSpPr>
          <a:xfrm>
            <a:off x="604752" y="1510425"/>
            <a:ext cx="11347413" cy="1857917"/>
            <a:chOff x="513312" y="1510425"/>
            <a:chExt cx="11347413" cy="1857917"/>
          </a:xfrm>
        </p:grpSpPr>
        <p:sp>
          <p:nvSpPr>
            <p:cNvPr id="15" name="Rectangle 14">
              <a:extLst>
                <a:ext uri="{FF2B5EF4-FFF2-40B4-BE49-F238E27FC236}">
                  <a16:creationId xmlns:a16="http://schemas.microsoft.com/office/drawing/2014/main" id="{104410D0-4AE0-454C-A6F7-CDB68A508167}"/>
                </a:ext>
              </a:extLst>
            </p:cNvPr>
            <p:cNvSpPr/>
            <p:nvPr/>
          </p:nvSpPr>
          <p:spPr>
            <a:xfrm>
              <a:off x="6418915" y="2845122"/>
              <a:ext cx="266420" cy="523220"/>
            </a:xfrm>
            <a:prstGeom prst="rect">
              <a:avLst/>
            </a:prstGeom>
          </p:spPr>
          <p:txBody>
            <a:bodyPr wrap="none">
              <a:spAutoFit/>
            </a:bodyPr>
            <a:lstStyle/>
            <a:p>
              <a:r>
                <a:rPr lang="en-US" sz="2800">
                  <a:solidFill>
                    <a:srgbClr val="000000"/>
                  </a:solidFill>
                  <a:latin typeface="Calibri" panose="020F0502020204030204" pitchFamily="34" charset="0"/>
                  <a:cs typeface="Calibri" panose="020F0502020204030204" pitchFamily="34" charset="0"/>
                </a:rPr>
                <a:t> </a:t>
              </a:r>
              <a:endParaRPr lang="en-US" sz="2800">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6AA33DEE-56A5-42E2-A28D-A87403F610A5}"/>
                </a:ext>
              </a:extLst>
            </p:cNvPr>
            <p:cNvSpPr/>
            <p:nvPr/>
          </p:nvSpPr>
          <p:spPr>
            <a:xfrm>
              <a:off x="6418915" y="2845122"/>
              <a:ext cx="266420" cy="523220"/>
            </a:xfrm>
            <a:prstGeom prst="rect">
              <a:avLst/>
            </a:prstGeom>
          </p:spPr>
          <p:txBody>
            <a:bodyPr wrap="none">
              <a:spAutoFit/>
            </a:bodyPr>
            <a:lstStyle/>
            <a:p>
              <a:r>
                <a:rPr lang="en-US" sz="2800">
                  <a:solidFill>
                    <a:srgbClr val="000000"/>
                  </a:solidFill>
                  <a:latin typeface="Calibri" panose="020F0502020204030204" pitchFamily="34" charset="0"/>
                  <a:cs typeface="Calibri" panose="020F0502020204030204" pitchFamily="34" charset="0"/>
                </a:rPr>
                <a:t> </a:t>
              </a:r>
              <a:endParaRPr lang="en-US" sz="2800">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8F48433B-BEF5-4D8C-B08D-EF7AB1A89D27}"/>
                </a:ext>
              </a:extLst>
            </p:cNvPr>
            <p:cNvSpPr/>
            <p:nvPr/>
          </p:nvSpPr>
          <p:spPr>
            <a:xfrm>
              <a:off x="6418915" y="2845122"/>
              <a:ext cx="266420" cy="523220"/>
            </a:xfrm>
            <a:prstGeom prst="rect">
              <a:avLst/>
            </a:prstGeom>
          </p:spPr>
          <p:txBody>
            <a:bodyPr wrap="none">
              <a:spAutoFit/>
            </a:bodyPr>
            <a:lstStyle/>
            <a:p>
              <a:r>
                <a:rPr lang="en-US" sz="2800">
                  <a:solidFill>
                    <a:srgbClr val="000000"/>
                  </a:solidFill>
                  <a:latin typeface="Calibri" panose="020F0502020204030204" pitchFamily="34" charset="0"/>
                  <a:cs typeface="Calibri" panose="020F0502020204030204" pitchFamily="34" charset="0"/>
                </a:rPr>
                <a:t> </a:t>
              </a:r>
              <a:endParaRPr lang="en-US" sz="2800">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8E790B94-BA74-47F8-86A6-AE0C7E36CBC1}"/>
                </a:ext>
              </a:extLst>
            </p:cNvPr>
            <p:cNvSpPr/>
            <p:nvPr/>
          </p:nvSpPr>
          <p:spPr>
            <a:xfrm>
              <a:off x="6418915" y="2845122"/>
              <a:ext cx="266420" cy="523220"/>
            </a:xfrm>
            <a:prstGeom prst="rect">
              <a:avLst/>
            </a:prstGeom>
          </p:spPr>
          <p:txBody>
            <a:bodyPr wrap="none">
              <a:spAutoFit/>
            </a:bodyPr>
            <a:lstStyle/>
            <a:p>
              <a:r>
                <a:rPr lang="en-US" sz="2800">
                  <a:solidFill>
                    <a:srgbClr val="000000"/>
                  </a:solidFill>
                  <a:latin typeface="Calibri" panose="020F0502020204030204" pitchFamily="34" charset="0"/>
                  <a:cs typeface="Calibri" panose="020F0502020204030204" pitchFamily="34" charset="0"/>
                </a:rPr>
                <a:t> </a:t>
              </a:r>
              <a:endParaRPr lang="en-US" sz="2800">
                <a:latin typeface="Calibri" panose="020F0502020204030204" pitchFamily="34" charset="0"/>
                <a:cs typeface="Calibri" panose="020F0502020204030204" pitchFamily="34" charset="0"/>
              </a:endParaRPr>
            </a:p>
          </p:txBody>
        </p:sp>
        <p:sp>
          <p:nvSpPr>
            <p:cNvPr id="29" name="Text Placeholder 5">
              <a:extLst>
                <a:ext uri="{FF2B5EF4-FFF2-40B4-BE49-F238E27FC236}">
                  <a16:creationId xmlns:a16="http://schemas.microsoft.com/office/drawing/2014/main" id="{0DDA095B-509E-4D89-AAB0-F36C2FB1926B}"/>
                </a:ext>
              </a:extLst>
            </p:cNvPr>
            <p:cNvSpPr txBox="1">
              <a:spLocks/>
            </p:cNvSpPr>
            <p:nvPr/>
          </p:nvSpPr>
          <p:spPr>
            <a:xfrm>
              <a:off x="513312" y="2657176"/>
              <a:ext cx="1855001" cy="657154"/>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defTabSz="1084866">
                <a:spcBef>
                  <a:spcPts val="680"/>
                </a:spcBef>
                <a:defRPr/>
              </a:pPr>
              <a:r>
                <a:rPr lang="en-US">
                  <a:solidFill>
                    <a:prstClr val="black"/>
                  </a:solidFill>
                  <a:latin typeface="Calibri" panose="020F0502020204030204" pitchFamily="34" charset="0"/>
                  <a:ea typeface="Open Sans" panose="020B0606030504020204" pitchFamily="34" charset="0"/>
                  <a:cs typeface="Calibri" panose="020F0502020204030204" pitchFamily="34" charset="0"/>
                </a:rPr>
                <a:t>Once the invoice is received, it is created and matched 2-way or 3-way</a:t>
              </a:r>
            </a:p>
            <a:p>
              <a:pPr defTabSz="1084866">
                <a:spcBef>
                  <a:spcPts val="680"/>
                </a:spcBef>
                <a:defRPr/>
              </a:pPr>
              <a:endParaRPr lang="en-US">
                <a:solidFill>
                  <a:prstClr val="black"/>
                </a:solidFill>
                <a:latin typeface="Calibri" panose="020F0502020204030204" pitchFamily="34" charset="0"/>
                <a:ea typeface="Open Sans" panose="020B0606030504020204" pitchFamily="34" charset="0"/>
                <a:cs typeface="Calibri" panose="020F0502020204030204" pitchFamily="34" charset="0"/>
              </a:endParaRPr>
            </a:p>
          </p:txBody>
        </p:sp>
        <p:sp>
          <p:nvSpPr>
            <p:cNvPr id="30" name="Text Placeholder 5">
              <a:extLst>
                <a:ext uri="{FF2B5EF4-FFF2-40B4-BE49-F238E27FC236}">
                  <a16:creationId xmlns:a16="http://schemas.microsoft.com/office/drawing/2014/main" id="{58A80C69-FC9B-4D9A-A34C-E00FACA366BC}"/>
                </a:ext>
              </a:extLst>
            </p:cNvPr>
            <p:cNvSpPr txBox="1">
              <a:spLocks/>
            </p:cNvSpPr>
            <p:nvPr/>
          </p:nvSpPr>
          <p:spPr>
            <a:xfrm>
              <a:off x="2887059" y="2660706"/>
              <a:ext cx="1855001" cy="657154"/>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defTabSz="1084866">
                <a:spcBef>
                  <a:spcPts val="680"/>
                </a:spcBef>
                <a:defRPr/>
              </a:pPr>
              <a:r>
                <a:rPr lang="en-US">
                  <a:solidFill>
                    <a:prstClr val="black"/>
                  </a:solidFill>
                  <a:latin typeface="Calibri" panose="020F0502020204030204" pitchFamily="34" charset="0"/>
                  <a:ea typeface="Open Sans" panose="020B0606030504020204" pitchFamily="34" charset="0"/>
                  <a:cs typeface="Calibri" panose="020F0502020204030204" pitchFamily="34" charset="0"/>
                </a:rPr>
                <a:t>Invoice is validated and routed to the approval.</a:t>
              </a:r>
            </a:p>
            <a:p>
              <a:pPr defTabSz="1084866">
                <a:spcBef>
                  <a:spcPts val="680"/>
                </a:spcBef>
                <a:defRPr/>
              </a:pPr>
              <a:endParaRPr lang="en-US">
                <a:solidFill>
                  <a:prstClr val="black"/>
                </a:solidFill>
                <a:latin typeface="Calibri" panose="020F0502020204030204" pitchFamily="34" charset="0"/>
                <a:ea typeface="Open Sans" panose="020B0606030504020204" pitchFamily="34" charset="0"/>
                <a:cs typeface="Calibri" panose="020F0502020204030204" pitchFamily="34" charset="0"/>
              </a:endParaRPr>
            </a:p>
          </p:txBody>
        </p:sp>
        <p:sp>
          <p:nvSpPr>
            <p:cNvPr id="31" name="Text Placeholder 5">
              <a:extLst>
                <a:ext uri="{FF2B5EF4-FFF2-40B4-BE49-F238E27FC236}">
                  <a16:creationId xmlns:a16="http://schemas.microsoft.com/office/drawing/2014/main" id="{31C7DC12-8487-430D-B93E-F1E74FFB1AC1}"/>
                </a:ext>
              </a:extLst>
            </p:cNvPr>
            <p:cNvSpPr txBox="1">
              <a:spLocks/>
            </p:cNvSpPr>
            <p:nvPr/>
          </p:nvSpPr>
          <p:spPr>
            <a:xfrm>
              <a:off x="5187740" y="2671942"/>
              <a:ext cx="1855001" cy="657154"/>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defTabSz="1084866">
                <a:spcBef>
                  <a:spcPts val="680"/>
                </a:spcBef>
                <a:defRPr/>
              </a:pPr>
              <a:r>
                <a:rPr lang="en-US">
                  <a:solidFill>
                    <a:prstClr val="black"/>
                  </a:solidFill>
                  <a:latin typeface="Calibri" panose="020F0502020204030204" pitchFamily="34" charset="0"/>
                  <a:ea typeface="Open Sans" panose="020B0606030504020204" pitchFamily="34" charset="0"/>
                  <a:cs typeface="Calibri" panose="020F0502020204030204" pitchFamily="34" charset="0"/>
                </a:rPr>
                <a:t>Payment process is initiated for invoice on due date.</a:t>
              </a:r>
            </a:p>
          </p:txBody>
        </p:sp>
        <p:sp>
          <p:nvSpPr>
            <p:cNvPr id="32" name="Text Placeholder 5">
              <a:extLst>
                <a:ext uri="{FF2B5EF4-FFF2-40B4-BE49-F238E27FC236}">
                  <a16:creationId xmlns:a16="http://schemas.microsoft.com/office/drawing/2014/main" id="{73B71080-9F91-40A7-A7C6-A42B6683B9B1}"/>
                </a:ext>
              </a:extLst>
            </p:cNvPr>
            <p:cNvSpPr txBox="1">
              <a:spLocks/>
            </p:cNvSpPr>
            <p:nvPr/>
          </p:nvSpPr>
          <p:spPr>
            <a:xfrm>
              <a:off x="7370466" y="2656660"/>
              <a:ext cx="1855001" cy="657154"/>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80"/>
                </a:spcBef>
                <a:buSzPct val="100000"/>
                <a:defRPr/>
              </a:pPr>
              <a:r>
                <a:rPr lang="en-US">
                  <a:solidFill>
                    <a:prstClr val="black"/>
                  </a:solidFill>
                  <a:latin typeface="Calibri" panose="020F0502020204030204" pitchFamily="34" charset="0"/>
                  <a:ea typeface="Open Sans" panose="020B0606030504020204" pitchFamily="34" charset="0"/>
                  <a:cs typeface="Calibri" panose="020F0502020204030204" pitchFamily="34" charset="0"/>
                </a:rPr>
                <a:t>Payments are reconciled to bank statements</a:t>
              </a:r>
            </a:p>
          </p:txBody>
        </p:sp>
        <p:sp>
          <p:nvSpPr>
            <p:cNvPr id="34" name="Text Placeholder 5">
              <a:extLst>
                <a:ext uri="{FF2B5EF4-FFF2-40B4-BE49-F238E27FC236}">
                  <a16:creationId xmlns:a16="http://schemas.microsoft.com/office/drawing/2014/main" id="{83459503-4B7F-4B57-8652-C43855BF5F46}"/>
                </a:ext>
              </a:extLst>
            </p:cNvPr>
            <p:cNvSpPr txBox="1">
              <a:spLocks/>
            </p:cNvSpPr>
            <p:nvPr/>
          </p:nvSpPr>
          <p:spPr>
            <a:xfrm>
              <a:off x="9671147" y="2685734"/>
              <a:ext cx="1709926" cy="584954"/>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80"/>
                </a:spcBef>
                <a:buSzPct val="100000"/>
                <a:defRPr/>
              </a:pPr>
              <a:r>
                <a:rPr lang="en-US">
                  <a:solidFill>
                    <a:prstClr val="black"/>
                  </a:solidFill>
                  <a:latin typeface="Calibri" panose="020F0502020204030204" pitchFamily="34" charset="0"/>
                  <a:ea typeface="Open Sans" panose="020B0606030504020204" pitchFamily="34" charset="0"/>
                  <a:cs typeface="Calibri" panose="020F0502020204030204" pitchFamily="34" charset="0"/>
                </a:rPr>
                <a:t>Accounting for payments is processed.</a:t>
              </a:r>
            </a:p>
          </p:txBody>
        </p:sp>
        <p:grpSp>
          <p:nvGrpSpPr>
            <p:cNvPr id="2" name="Group 1">
              <a:extLst>
                <a:ext uri="{FF2B5EF4-FFF2-40B4-BE49-F238E27FC236}">
                  <a16:creationId xmlns:a16="http://schemas.microsoft.com/office/drawing/2014/main" id="{7D98024B-3B6E-472D-B4FD-0DE0197AF4F3}"/>
                </a:ext>
              </a:extLst>
            </p:cNvPr>
            <p:cNvGrpSpPr/>
            <p:nvPr/>
          </p:nvGrpSpPr>
          <p:grpSpPr>
            <a:xfrm>
              <a:off x="513312" y="1510425"/>
              <a:ext cx="11347413" cy="1005643"/>
              <a:chOff x="364722" y="1510425"/>
              <a:chExt cx="11347413" cy="1081160"/>
            </a:xfrm>
          </p:grpSpPr>
          <p:sp>
            <p:nvSpPr>
              <p:cNvPr id="25" name="AutoShape 3">
                <a:extLst>
                  <a:ext uri="{FF2B5EF4-FFF2-40B4-BE49-F238E27FC236}">
                    <a16:creationId xmlns:a16="http://schemas.microsoft.com/office/drawing/2014/main" id="{CD1E48D2-4AD5-4DF1-B86A-8C206BA3736A}"/>
                  </a:ext>
                </a:extLst>
              </p:cNvPr>
              <p:cNvSpPr>
                <a:spLocks noChangeArrowheads="1"/>
              </p:cNvSpPr>
              <p:nvPr/>
            </p:nvSpPr>
            <p:spPr bwMode="gray">
              <a:xfrm>
                <a:off x="364722" y="1515868"/>
                <a:ext cx="2183744" cy="1064207"/>
              </a:xfrm>
              <a:prstGeom prst="chevron">
                <a:avLst>
                  <a:gd name="adj" fmla="val 34952"/>
                </a:avLst>
              </a:prstGeom>
              <a:solidFill>
                <a:schemeClr val="accent1">
                  <a:lumMod val="60000"/>
                  <a:lumOff val="40000"/>
                </a:schemeClr>
              </a:solidFill>
              <a:ln w="12700" cap="rnd" algn="ctr">
                <a:noFill/>
                <a:miter lim="800000"/>
                <a:headEnd/>
                <a:tailEnd/>
              </a:ln>
            </p:spPr>
            <p:txBody>
              <a:bodyPr lIns="100753" tIns="100753" rIns="100753" bIns="100753" anchor="ctr" anchorCtr="0"/>
              <a:lstStyle/>
              <a:p>
                <a:pPr algn="ctr" defTabSz="1381685">
                  <a:lnSpc>
                    <a:spcPct val="106000"/>
                  </a:lnSpc>
                  <a:defRPr/>
                </a:pPr>
                <a:r>
                  <a:rPr lang="en-US" sz="1600" kern="0">
                    <a:solidFill>
                      <a:prstClr val="white"/>
                    </a:solidFill>
                    <a:latin typeface="Calibri" panose="020F0502020204030204" pitchFamily="34" charset="0"/>
                    <a:ea typeface="Open Sans" panose="020B0606030504020204" pitchFamily="34" charset="0"/>
                    <a:cs typeface="Calibri" panose="020F0502020204030204" pitchFamily="34" charset="0"/>
                  </a:rPr>
                  <a:t>Invoice Matched with PO</a:t>
                </a:r>
              </a:p>
            </p:txBody>
          </p:sp>
          <p:sp>
            <p:nvSpPr>
              <p:cNvPr id="45" name="AutoShape 3">
                <a:extLst>
                  <a:ext uri="{FF2B5EF4-FFF2-40B4-BE49-F238E27FC236}">
                    <a16:creationId xmlns:a16="http://schemas.microsoft.com/office/drawing/2014/main" id="{74E95FE3-565D-4748-A702-703D8B299AEF}"/>
                  </a:ext>
                </a:extLst>
              </p:cNvPr>
              <p:cNvSpPr>
                <a:spLocks noChangeArrowheads="1"/>
              </p:cNvSpPr>
              <p:nvPr/>
            </p:nvSpPr>
            <p:spPr bwMode="gray">
              <a:xfrm>
                <a:off x="2671236" y="1511545"/>
                <a:ext cx="2183744" cy="1064207"/>
              </a:xfrm>
              <a:prstGeom prst="chevron">
                <a:avLst>
                  <a:gd name="adj" fmla="val 34952"/>
                </a:avLst>
              </a:prstGeom>
              <a:solidFill>
                <a:schemeClr val="accent1">
                  <a:lumMod val="60000"/>
                  <a:lumOff val="40000"/>
                </a:schemeClr>
              </a:solidFill>
              <a:ln w="12700" cap="rnd" algn="ctr">
                <a:noFill/>
                <a:miter lim="800000"/>
                <a:headEnd/>
                <a:tailEnd/>
              </a:ln>
            </p:spPr>
            <p:txBody>
              <a:bodyPr lIns="100753" tIns="100753" rIns="100753" bIns="100753" anchor="ctr" anchorCtr="0"/>
              <a:lstStyle/>
              <a:p>
                <a:pPr algn="ctr" defTabSz="1381685">
                  <a:lnSpc>
                    <a:spcPct val="106000"/>
                  </a:lnSpc>
                  <a:defRPr/>
                </a:pPr>
                <a:r>
                  <a:rPr lang="en-US" sz="1600" kern="0">
                    <a:solidFill>
                      <a:prstClr val="white"/>
                    </a:solidFill>
                    <a:latin typeface="Calibri" panose="020F0502020204030204" pitchFamily="34" charset="0"/>
                    <a:ea typeface="Open Sans" panose="020B0606030504020204" pitchFamily="34" charset="0"/>
                    <a:cs typeface="Calibri" panose="020F0502020204030204" pitchFamily="34" charset="0"/>
                  </a:rPr>
                  <a:t>Invoice Validation and Approval</a:t>
                </a:r>
              </a:p>
            </p:txBody>
          </p:sp>
          <p:sp>
            <p:nvSpPr>
              <p:cNvPr id="46" name="AutoShape 3">
                <a:extLst>
                  <a:ext uri="{FF2B5EF4-FFF2-40B4-BE49-F238E27FC236}">
                    <a16:creationId xmlns:a16="http://schemas.microsoft.com/office/drawing/2014/main" id="{7BC4AD93-81EB-4304-B0EB-785934AC7E6E}"/>
                  </a:ext>
                </a:extLst>
              </p:cNvPr>
              <p:cNvSpPr>
                <a:spLocks noChangeArrowheads="1"/>
              </p:cNvSpPr>
              <p:nvPr/>
            </p:nvSpPr>
            <p:spPr bwMode="gray">
              <a:xfrm>
                <a:off x="4946556" y="1510425"/>
                <a:ext cx="2183744" cy="1064207"/>
              </a:xfrm>
              <a:prstGeom prst="chevron">
                <a:avLst>
                  <a:gd name="adj" fmla="val 34952"/>
                </a:avLst>
              </a:prstGeom>
              <a:solidFill>
                <a:schemeClr val="accent1">
                  <a:lumMod val="60000"/>
                  <a:lumOff val="40000"/>
                </a:schemeClr>
              </a:solidFill>
              <a:ln w="12700" cap="rnd" algn="ctr">
                <a:noFill/>
                <a:miter lim="800000"/>
                <a:headEnd/>
                <a:tailEnd/>
              </a:ln>
            </p:spPr>
            <p:txBody>
              <a:bodyPr lIns="100753" tIns="100753" rIns="100753" bIns="100753" anchor="ctr" anchorCtr="0"/>
              <a:lstStyle/>
              <a:p>
                <a:pPr algn="ctr" defTabSz="1381685">
                  <a:lnSpc>
                    <a:spcPct val="106000"/>
                  </a:lnSpc>
                  <a:defRPr/>
                </a:pPr>
                <a:r>
                  <a:rPr lang="en-US" sz="1600" kern="0">
                    <a:solidFill>
                      <a:prstClr val="white"/>
                    </a:solidFill>
                    <a:latin typeface="Calibri" panose="020F0502020204030204" pitchFamily="34" charset="0"/>
                    <a:ea typeface="Open Sans" panose="020B0606030504020204" pitchFamily="34" charset="0"/>
                    <a:cs typeface="Calibri" panose="020F0502020204030204" pitchFamily="34" charset="0"/>
                  </a:rPr>
                  <a:t>Payment Process</a:t>
                </a:r>
              </a:p>
            </p:txBody>
          </p:sp>
          <p:sp>
            <p:nvSpPr>
              <p:cNvPr id="47" name="AutoShape 3">
                <a:extLst>
                  <a:ext uri="{FF2B5EF4-FFF2-40B4-BE49-F238E27FC236}">
                    <a16:creationId xmlns:a16="http://schemas.microsoft.com/office/drawing/2014/main" id="{A5C914B1-7BDE-448F-A05A-F7C271A93AF2}"/>
                  </a:ext>
                </a:extLst>
              </p:cNvPr>
              <p:cNvSpPr>
                <a:spLocks noChangeArrowheads="1"/>
              </p:cNvSpPr>
              <p:nvPr/>
            </p:nvSpPr>
            <p:spPr bwMode="gray">
              <a:xfrm>
                <a:off x="7221876" y="1515867"/>
                <a:ext cx="2183745" cy="1064207"/>
              </a:xfrm>
              <a:prstGeom prst="chevron">
                <a:avLst>
                  <a:gd name="adj" fmla="val 34952"/>
                </a:avLst>
              </a:prstGeom>
              <a:solidFill>
                <a:schemeClr val="bg2">
                  <a:lumMod val="75000"/>
                </a:schemeClr>
              </a:solidFill>
              <a:ln w="12700" cap="rnd" algn="ctr">
                <a:noFill/>
                <a:miter lim="800000"/>
                <a:headEnd/>
                <a:tailEnd/>
              </a:ln>
            </p:spPr>
            <p:txBody>
              <a:bodyPr lIns="100753" tIns="100753" rIns="100753" bIns="100753" anchor="ctr" anchorCtr="0"/>
              <a:lstStyle/>
              <a:p>
                <a:pPr algn="ctr" defTabSz="1381685">
                  <a:lnSpc>
                    <a:spcPct val="106000"/>
                  </a:lnSpc>
                  <a:defRPr/>
                </a:pPr>
                <a:r>
                  <a:rPr lang="en-US" sz="1600" kern="0">
                    <a:solidFill>
                      <a:prstClr val="white"/>
                    </a:solidFill>
                    <a:latin typeface="Calibri" panose="020F0502020204030204" pitchFamily="34" charset="0"/>
                    <a:ea typeface="Open Sans" panose="020B0606030504020204" pitchFamily="34" charset="0"/>
                    <a:cs typeface="Calibri" panose="020F0502020204030204" pitchFamily="34" charset="0"/>
                  </a:rPr>
                  <a:t>Payment Reconciliation</a:t>
                </a:r>
              </a:p>
            </p:txBody>
          </p:sp>
          <p:sp>
            <p:nvSpPr>
              <p:cNvPr id="48" name="AutoShape 3">
                <a:extLst>
                  <a:ext uri="{FF2B5EF4-FFF2-40B4-BE49-F238E27FC236}">
                    <a16:creationId xmlns:a16="http://schemas.microsoft.com/office/drawing/2014/main" id="{F0847CBC-89EC-4D34-B0A7-5120DF096433}"/>
                  </a:ext>
                </a:extLst>
              </p:cNvPr>
              <p:cNvSpPr>
                <a:spLocks noChangeArrowheads="1"/>
              </p:cNvSpPr>
              <p:nvPr/>
            </p:nvSpPr>
            <p:spPr bwMode="gray">
              <a:xfrm>
                <a:off x="9528392" y="1527378"/>
                <a:ext cx="2183743" cy="1064207"/>
              </a:xfrm>
              <a:prstGeom prst="chevron">
                <a:avLst>
                  <a:gd name="adj" fmla="val 34952"/>
                </a:avLst>
              </a:prstGeom>
              <a:solidFill>
                <a:schemeClr val="accent1">
                  <a:lumMod val="60000"/>
                  <a:lumOff val="40000"/>
                </a:schemeClr>
              </a:solidFill>
              <a:ln w="12700" cap="rnd" algn="ctr">
                <a:noFill/>
                <a:miter lim="800000"/>
                <a:headEnd/>
                <a:tailEnd/>
              </a:ln>
            </p:spPr>
            <p:txBody>
              <a:bodyPr lIns="100753" tIns="100753" rIns="100753" bIns="100753" anchor="ctr" anchorCtr="0"/>
              <a:lstStyle/>
              <a:p>
                <a:pPr algn="ctr" defTabSz="1381685">
                  <a:lnSpc>
                    <a:spcPct val="106000"/>
                  </a:lnSpc>
                  <a:defRPr/>
                </a:pPr>
                <a:r>
                  <a:rPr lang="en-US" sz="1600" kern="0">
                    <a:solidFill>
                      <a:prstClr val="white"/>
                    </a:solidFill>
                    <a:latin typeface="Calibri" panose="020F0502020204030204" pitchFamily="34" charset="0"/>
                    <a:ea typeface="Open Sans" panose="020B0606030504020204" pitchFamily="34" charset="0"/>
                    <a:cs typeface="Calibri" panose="020F0502020204030204" pitchFamily="34" charset="0"/>
                  </a:rPr>
                  <a:t>Payment Accounting</a:t>
                </a:r>
              </a:p>
            </p:txBody>
          </p:sp>
        </p:grpSp>
      </p:grpSp>
      <p:grpSp>
        <p:nvGrpSpPr>
          <p:cNvPr id="50" name="Group 49">
            <a:extLst>
              <a:ext uri="{FF2B5EF4-FFF2-40B4-BE49-F238E27FC236}">
                <a16:creationId xmlns:a16="http://schemas.microsoft.com/office/drawing/2014/main" id="{AE46C9D5-DE54-47C3-BD78-6102B45F1FB9}"/>
              </a:ext>
            </a:extLst>
          </p:cNvPr>
          <p:cNvGrpSpPr/>
          <p:nvPr/>
        </p:nvGrpSpPr>
        <p:grpSpPr>
          <a:xfrm>
            <a:off x="3074544" y="3701460"/>
            <a:ext cx="6042912" cy="229456"/>
            <a:chOff x="1726058" y="5257798"/>
            <a:chExt cx="6042912" cy="229456"/>
          </a:xfrm>
        </p:grpSpPr>
        <p:cxnSp>
          <p:nvCxnSpPr>
            <p:cNvPr id="51" name="Straight Arrow Connector 50">
              <a:extLst>
                <a:ext uri="{FF2B5EF4-FFF2-40B4-BE49-F238E27FC236}">
                  <a16:creationId xmlns:a16="http://schemas.microsoft.com/office/drawing/2014/main" id="{6A94868F-1039-45DF-AD05-6910D46485D9}"/>
                </a:ext>
              </a:extLst>
            </p:cNvPr>
            <p:cNvCxnSpPr/>
            <p:nvPr/>
          </p:nvCxnSpPr>
          <p:spPr>
            <a:xfrm>
              <a:off x="1726058" y="5372526"/>
              <a:ext cx="6042912" cy="6847"/>
            </a:xfrm>
            <a:prstGeom prst="straightConnector1">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B52C7C2F-7612-487A-A375-B02138273716}"/>
                </a:ext>
              </a:extLst>
            </p:cNvPr>
            <p:cNvSpPr/>
            <p:nvPr/>
          </p:nvSpPr>
          <p:spPr bwMode="gray">
            <a:xfrm>
              <a:off x="3930720" y="5257798"/>
              <a:ext cx="1633589" cy="22945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r>
                <a:rPr lang="en-US" sz="1050" b="1">
                  <a:solidFill>
                    <a:schemeClr val="bg1"/>
                  </a:solidFill>
                  <a:cs typeface="Calibri"/>
                </a:rPr>
                <a:t>Leading Practices</a:t>
              </a:r>
              <a:endParaRPr lang="en-US">
                <a:solidFill>
                  <a:schemeClr val="bg1"/>
                </a:solidFill>
              </a:endParaRPr>
            </a:p>
          </p:txBody>
        </p:sp>
      </p:grpSp>
      <p:graphicFrame>
        <p:nvGraphicFramePr>
          <p:cNvPr id="53" name="Table 52">
            <a:extLst>
              <a:ext uri="{FF2B5EF4-FFF2-40B4-BE49-F238E27FC236}">
                <a16:creationId xmlns:a16="http://schemas.microsoft.com/office/drawing/2014/main" id="{BCBB4BFB-C5AF-423A-AFFB-4F42B1BC672C}"/>
              </a:ext>
            </a:extLst>
          </p:cNvPr>
          <p:cNvGraphicFramePr>
            <a:graphicFrameLocks noGrp="1"/>
          </p:cNvGraphicFramePr>
          <p:nvPr>
            <p:extLst>
              <p:ext uri="{D42A27DB-BD31-4B8C-83A1-F6EECF244321}">
                <p14:modId xmlns:p14="http://schemas.microsoft.com/office/powerpoint/2010/main" val="174425075"/>
              </p:ext>
            </p:extLst>
          </p:nvPr>
        </p:nvGraphicFramePr>
        <p:xfrm>
          <a:off x="1492500" y="3995434"/>
          <a:ext cx="9206999" cy="2615053"/>
        </p:xfrm>
        <a:graphic>
          <a:graphicData uri="http://schemas.openxmlformats.org/drawingml/2006/table">
            <a:tbl>
              <a:tblPr>
                <a:tableStyleId>{2D5ABB26-0587-4C30-8999-92F81FD0307C}</a:tableStyleId>
              </a:tblPr>
              <a:tblGrid>
                <a:gridCol w="1565606">
                  <a:extLst>
                    <a:ext uri="{9D8B030D-6E8A-4147-A177-3AD203B41FA5}">
                      <a16:colId xmlns:a16="http://schemas.microsoft.com/office/drawing/2014/main" val="3627251289"/>
                    </a:ext>
                  </a:extLst>
                </a:gridCol>
                <a:gridCol w="7641393">
                  <a:extLst>
                    <a:ext uri="{9D8B030D-6E8A-4147-A177-3AD203B41FA5}">
                      <a16:colId xmlns:a16="http://schemas.microsoft.com/office/drawing/2014/main" val="2751870419"/>
                    </a:ext>
                  </a:extLst>
                </a:gridCol>
              </a:tblGrid>
              <a:tr h="4472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dk1"/>
                          </a:solidFill>
                          <a:latin typeface="+mn-lt"/>
                          <a:ea typeface="+mn-ea"/>
                          <a:cs typeface="+mn-cs"/>
                        </a:rPr>
                        <a:t>Segregation Of Du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a:solidFill>
                            <a:schemeClr val="dk1"/>
                          </a:solidFill>
                          <a:latin typeface="+mn-lt"/>
                          <a:ea typeface="+mn-ea"/>
                          <a:cs typeface="+mn-cs"/>
                        </a:rPr>
                        <a:t>Invoice entry, invoice approval and payment processing roles should be clearly segreg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a:solidFill>
                            <a:schemeClr val="dk1"/>
                          </a:solidFill>
                          <a:latin typeface="+mn-lt"/>
                          <a:ea typeface="+mn-ea"/>
                          <a:cs typeface="+mn-cs"/>
                        </a:rPr>
                        <a:t>Utilize standard job roles provided by cloud ERP to model the SOD structu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0775567"/>
                  </a:ext>
                </a:extLst>
              </a:tr>
              <a:tr h="555976">
                <a:tc>
                  <a:txBody>
                    <a:bodyPr/>
                    <a:lstStyle/>
                    <a:p>
                      <a:pPr marL="0" marR="0" lvl="0" indent="0" algn="ctr" defTabSz="457200" rtl="0" eaLnBrk="1" fontAlgn="auto" latinLnBrk="0" hangingPunct="1">
                        <a:lnSpc>
                          <a:spcPct val="150000"/>
                        </a:lnSpc>
                        <a:spcBef>
                          <a:spcPts val="0"/>
                        </a:spcBef>
                        <a:spcAft>
                          <a:spcPts val="0"/>
                        </a:spcAft>
                        <a:buClrTx/>
                        <a:buSzTx/>
                        <a:buFont typeface="Arial" panose="020B0604020202020204" pitchFamily="34" charset="0"/>
                        <a:buNone/>
                        <a:tabLst/>
                        <a:defRPr/>
                      </a:pPr>
                      <a:endParaRPr kumimoji="0" lang="en-US" sz="1200" b="1" u="none" strike="noStrike" kern="1200" cap="none" normalizeH="0" baseline="0" noProof="0">
                        <a:ln>
                          <a:noFill/>
                        </a:ln>
                        <a:effectLst/>
                        <a:latin typeface="+mn-lt"/>
                        <a:ea typeface="Open Sans" panose="020B0606030504020204" pitchFamily="34" charset="0"/>
                        <a:cs typeface="Open Sans" panose="020B0606030504020204" pitchFamily="34" charset="0"/>
                      </a:endParaRPr>
                    </a:p>
                    <a:p>
                      <a:pPr marL="0" marR="0" lvl="0" indent="0" algn="ctr"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1" u="none" strike="noStrike" kern="1200" cap="none" normalizeH="0" baseline="0" noProof="0">
                          <a:ln>
                            <a:noFill/>
                          </a:ln>
                          <a:effectLst/>
                          <a:latin typeface="+mn-lt"/>
                          <a:ea typeface="Open Sans" panose="020B0606030504020204" pitchFamily="34" charset="0"/>
                          <a:cs typeface="Open Sans" panose="020B0606030504020204" pitchFamily="34" charset="0"/>
                        </a:rPr>
                        <a:t>Check Numberin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mn-lt"/>
                          <a:ea typeface="+mn-ea"/>
                          <a:cs typeface="+mn-cs"/>
                        </a:rPr>
                        <a:t>Maintain different ranges for numbering of payments across banks and formats for easy referenc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6334740"/>
                  </a:ext>
                </a:extLst>
              </a:tr>
              <a:tr h="6316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dk1"/>
                          </a:solidFill>
                          <a:latin typeface="+mn-lt"/>
                          <a:ea typeface="+mn-ea"/>
                          <a:cs typeface="+mn-cs"/>
                        </a:rPr>
                        <a:t>Pay Grou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mn-lt"/>
                          <a:ea typeface="+mn-ea"/>
                          <a:cs typeface="+mn-cs"/>
                        </a:rPr>
                        <a:t>Use pay group to classify invoices based on additional criter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mn-lt"/>
                          <a:ea typeface="+mn-ea"/>
                          <a:cs typeface="+mn-cs"/>
                        </a:rPr>
                        <a:t>Assign pay group at supplier site level so that it would default automatically at invoice installment p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mn-lt"/>
                          <a:ea typeface="+mn-ea"/>
                          <a:cs typeface="+mn-cs"/>
                        </a:rPr>
                        <a:t>Use pay group in payment batch selection criteria to pay such grouped invoices.</a:t>
                      </a: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263144"/>
                  </a:ext>
                </a:extLst>
              </a:tr>
              <a:tr h="2683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noProof="0">
                          <a:solidFill>
                            <a:schemeClr val="dk1"/>
                          </a:solidFill>
                          <a:latin typeface="+mn-lt"/>
                          <a:ea typeface="+mn-ea"/>
                          <a:cs typeface="+mn-cs"/>
                        </a:rPr>
                        <a:t>Payment remittanc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mn-lt"/>
                          <a:ea typeface="+mn-ea"/>
                          <a:cs typeface="+mn-cs"/>
                        </a:rPr>
                        <a:t>Include remittance information in EFT/ACH payment files sent to bank to be able to forward that to supplier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2202457"/>
                  </a:ext>
                </a:extLst>
              </a:tr>
              <a:tr h="6316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dk1"/>
                          </a:solidFill>
                          <a:latin typeface="+mn-lt"/>
                          <a:ea typeface="+mn-ea"/>
                          <a:cs typeface="+mn-cs"/>
                        </a:rPr>
                        <a:t>Payment Process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mn-lt"/>
                          <a:ea typeface="+mn-ea"/>
                          <a:cs typeface="+mn-cs"/>
                        </a:rPr>
                        <a:t>Use of EFT/ACH payments is preferred over printed che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mn-lt"/>
                          <a:ea typeface="+mn-ea"/>
                          <a:cs typeface="+mn-cs"/>
                        </a:rPr>
                        <a:t>Reduce effort by using Payment Process Request instead of manual payments.</a:t>
                      </a: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8540187"/>
                  </a:ext>
                </a:extLst>
              </a:tr>
            </a:tbl>
          </a:graphicData>
        </a:graphic>
      </p:graphicFrame>
    </p:spTree>
    <p:extLst>
      <p:ext uri="{BB962C8B-B14F-4D97-AF65-F5344CB8AC3E}">
        <p14:creationId xmlns:p14="http://schemas.microsoft.com/office/powerpoint/2010/main" val="340274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Kinetic Enterprise_PPT template_081621_FINAL.pptx" id="{81E0818D-39FF-424A-8B65-77DC896E2B73}" vid="{F31995C8-9C68-4693-B40C-1AB18EBEF8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7" ma:contentTypeDescription="Create a new document." ma:contentTypeScope="" ma:versionID="affd4296e8f1351782c9a0c46419815a">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b2e98148e58719572f5b792c854782dd"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605c320-b55e-4af4-addb-d1a9d1bdf49a">
      <UserInfo>
        <DisplayName/>
        <AccountId xsi:nil="true"/>
        <AccountType/>
      </UserInfo>
    </SharedWithUsers>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Props1.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2.xml><?xml version="1.0" encoding="utf-8"?>
<ds:datastoreItem xmlns:ds="http://schemas.openxmlformats.org/officeDocument/2006/customXml" ds:itemID="{C5A7079D-4475-43EE-AFDD-484E9134BD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05E49B-70B5-4FEC-89D5-F69F52BE5B81}">
  <ds:schemaRefs>
    <ds:schemaRef ds:uri="http://purl.org/dc/elements/1.1/"/>
    <ds:schemaRef ds:uri="http://schemas.microsoft.com/office/2006/documentManagement/types"/>
    <ds:schemaRef ds:uri="http://www.w3.org/XML/1998/namespace"/>
    <ds:schemaRef ds:uri="http://schemas.microsoft.com/office/2006/metadata/properties"/>
    <ds:schemaRef ds:uri="http://purl.org/dc/terms/"/>
    <ds:schemaRef ds:uri="543e56b8-7632-4b14-b1a2-8aaf3cff7f76"/>
    <ds:schemaRef ds:uri="http://purl.org/dc/dcmitype/"/>
    <ds:schemaRef ds:uri="http://schemas.microsoft.com/office/infopath/2007/PartnerControls"/>
    <ds:schemaRef ds:uri="http://schemas.openxmlformats.org/package/2006/metadata/core-properties"/>
    <ds:schemaRef ds:uri="24ef3fb2-cd99-4121-bdb6-842436d0e529"/>
    <ds:schemaRef ds:uri="f605c320-b55e-4af4-addb-d1a9d1bdf49a"/>
    <ds:schemaRef ds:uri="ecdbe5b9-5499-446f-91f2-35ffe1354dc7"/>
  </ds:schemaRefs>
</ds:datastoreItem>
</file>

<file path=docProps/app.xml><?xml version="1.0" encoding="utf-8"?>
<Properties xmlns="http://schemas.openxmlformats.org/officeDocument/2006/extended-properties" xmlns:vt="http://schemas.openxmlformats.org/officeDocument/2006/docPropsVTypes">
  <Template/>
  <TotalTime>139</TotalTime>
  <Words>3060</Words>
  <Application>Microsoft Office PowerPoint</Application>
  <PresentationFormat>Widescreen</PresentationFormat>
  <Paragraphs>478</Paragraphs>
  <Slides>31</Slides>
  <Notes>22</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Deloitte_Brand_16_9</vt:lpstr>
      <vt:lpstr>Supplier Payment Processing Assessment Workshop</vt:lpstr>
      <vt:lpstr>Agenda</vt:lpstr>
      <vt:lpstr>Introduction</vt:lpstr>
      <vt:lpstr>PowerPoint Presentation</vt:lpstr>
      <vt:lpstr>Payable : Procure to Pay</vt:lpstr>
      <vt:lpstr>Procure To Pay (PTP)</vt:lpstr>
      <vt:lpstr>Description – Process Payments</vt:lpstr>
      <vt:lpstr>Procure To Pay - Payables</vt:lpstr>
      <vt:lpstr>PowerPoint Presentation</vt:lpstr>
      <vt:lpstr>Payment Processing</vt:lpstr>
      <vt:lpstr>PowerPoint Presentation</vt:lpstr>
      <vt:lpstr>PowerPoint Presentation</vt:lpstr>
      <vt:lpstr>PowerPoint Presentation</vt:lpstr>
      <vt:lpstr>PowerPoint Presentation</vt:lpstr>
      <vt:lpstr> Demonstration</vt:lpstr>
      <vt:lpstr>PowerPoint Presentation</vt:lpstr>
      <vt:lpstr>Procure To Pay - Payables</vt:lpstr>
      <vt:lpstr>PowerPoint Presentation</vt:lpstr>
      <vt:lpstr>PowerPoint Presentation</vt:lpstr>
      <vt:lpstr>Procure To Pay - Payables</vt:lpstr>
      <vt:lpstr>Out of Box Reports</vt:lpstr>
      <vt:lpstr>PowerPoint Presentation</vt:lpstr>
      <vt:lpstr>PowerPoint Presentation</vt:lpstr>
      <vt:lpstr>PowerPoint Presentation</vt:lpstr>
      <vt:lpstr>PowerPoint Presentation</vt:lpstr>
      <vt:lpstr>Appendix</vt:lpstr>
      <vt:lpstr>PowerPoint Presentation</vt:lpstr>
      <vt:lpstr>Payable Payment Process</vt:lpstr>
      <vt:lpstr>Payable Payment Process</vt:lpstr>
      <vt:lpstr>Payable Payment Process</vt:lpstr>
      <vt:lpstr>Payable Payment Proces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netic Enterprise</dc:title>
  <dc:creator>Saini, Deepak</dc:creator>
  <cp:lastModifiedBy>Branwal, Suraj</cp:lastModifiedBy>
  <cp:revision>8</cp:revision>
  <cp:lastPrinted>2014-06-25T02:16:22Z</cp:lastPrinted>
  <dcterms:created xsi:type="dcterms:W3CDTF">2023-01-31T06:57:31Z</dcterms:created>
  <dcterms:modified xsi:type="dcterms:W3CDTF">2024-04-23T14:2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C66C6C5563054CB3180C4AE6D905F6</vt:lpwstr>
  </property>
  <property fmtid="{D5CDD505-2E9C-101B-9397-08002B2CF9AE}" pid="3" name="MSIP_Label_ea60d57e-af5b-4752-ac57-3e4f28ca11dc_Enabled">
    <vt:lpwstr>true</vt:lpwstr>
  </property>
  <property fmtid="{D5CDD505-2E9C-101B-9397-08002B2CF9AE}" pid="4" name="MSIP_Label_ea60d57e-af5b-4752-ac57-3e4f28ca11dc_SetDate">
    <vt:lpwstr>2021-03-15T08:01:3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c48226f8-9411-4d06-b069-56e094e1e42e</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xd_ProgID">
    <vt:lpwstr/>
  </property>
  <property fmtid="{D5CDD505-2E9C-101B-9397-08002B2CF9AE}" pid="12" name="_SourceUrl">
    <vt:lpwstr/>
  </property>
  <property fmtid="{D5CDD505-2E9C-101B-9397-08002B2CF9AE}" pid="13" name="_SharedFileIndex">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y fmtid="{D5CDD505-2E9C-101B-9397-08002B2CF9AE}" pid="18" name="xd_Signature">
    <vt:lpwstr/>
  </property>
</Properties>
</file>